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4"/>
  </p:notesMasterIdLst>
  <p:sldIdLst>
    <p:sldId id="344" r:id="rId2"/>
    <p:sldId id="356" r:id="rId3"/>
    <p:sldId id="431" r:id="rId4"/>
    <p:sldId id="432" r:id="rId5"/>
    <p:sldId id="433" r:id="rId6"/>
    <p:sldId id="434" r:id="rId7"/>
    <p:sldId id="435" r:id="rId8"/>
    <p:sldId id="436" r:id="rId9"/>
    <p:sldId id="437" r:id="rId10"/>
    <p:sldId id="455" r:id="rId11"/>
    <p:sldId id="456" r:id="rId12"/>
    <p:sldId id="450" r:id="rId13"/>
    <p:sldId id="451" r:id="rId14"/>
    <p:sldId id="460" r:id="rId15"/>
    <p:sldId id="457" r:id="rId16"/>
    <p:sldId id="461" r:id="rId17"/>
    <p:sldId id="444" r:id="rId18"/>
    <p:sldId id="454" r:id="rId19"/>
    <p:sldId id="445" r:id="rId20"/>
    <p:sldId id="446" r:id="rId21"/>
    <p:sldId id="452" r:id="rId22"/>
    <p:sldId id="440" r:id="rId23"/>
    <p:sldId id="438" r:id="rId24"/>
    <p:sldId id="441" r:id="rId25"/>
    <p:sldId id="442" r:id="rId26"/>
    <p:sldId id="443" r:id="rId27"/>
    <p:sldId id="453" r:id="rId28"/>
    <p:sldId id="447" r:id="rId29"/>
    <p:sldId id="458" r:id="rId30"/>
    <p:sldId id="448" r:id="rId31"/>
    <p:sldId id="459" r:id="rId32"/>
    <p:sldId id="396" r:id="rId33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82" autoAdjust="0"/>
    <p:restoredTop sz="93048" autoAdjust="0"/>
  </p:normalViewPr>
  <p:slideViewPr>
    <p:cSldViewPr>
      <p:cViewPr varScale="1">
        <p:scale>
          <a:sx n="69" d="100"/>
          <a:sy n="69" d="100"/>
        </p:scale>
        <p:origin x="1668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1ED8FE7-9BFD-45E8-8D36-85BB313A6612}" type="doc">
      <dgm:prSet loTypeId="urn:microsoft.com/office/officeart/2005/8/layout/vList5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5778C949-E1CC-409C-B65E-A48EEFAD8337}">
      <dgm:prSet/>
      <dgm:spPr/>
      <dgm:t>
        <a:bodyPr/>
        <a:lstStyle/>
        <a:p>
          <a:pPr rtl="0"/>
          <a:r>
            <a:rPr lang="en-US" smtClean="0"/>
            <a:t>On Demand and Self-Service</a:t>
          </a:r>
          <a:endParaRPr lang="en-US"/>
        </a:p>
      </dgm:t>
    </dgm:pt>
    <dgm:pt modelId="{D8C4B0A0-8DF0-4D32-B087-2D6190A6DBA0}" type="parTrans" cxnId="{EBF31012-7064-4C65-9EA3-3232521268F3}">
      <dgm:prSet/>
      <dgm:spPr/>
      <dgm:t>
        <a:bodyPr/>
        <a:lstStyle/>
        <a:p>
          <a:endParaRPr lang="en-US"/>
        </a:p>
      </dgm:t>
    </dgm:pt>
    <dgm:pt modelId="{0AD81C07-674F-48A5-8996-570033B73A91}" type="sibTrans" cxnId="{EBF31012-7064-4C65-9EA3-3232521268F3}">
      <dgm:prSet/>
      <dgm:spPr/>
      <dgm:t>
        <a:bodyPr/>
        <a:lstStyle/>
        <a:p>
          <a:endParaRPr lang="en-US"/>
        </a:p>
      </dgm:t>
    </dgm:pt>
    <dgm:pt modelId="{D5DAEAA9-D0EF-4BDA-9A06-610790E68C0D}">
      <dgm:prSet/>
      <dgm:spPr/>
      <dgm:t>
        <a:bodyPr/>
        <a:lstStyle/>
        <a:p>
          <a:pPr rtl="0"/>
          <a:r>
            <a:rPr lang="en-US" smtClean="0"/>
            <a:t>Consumer can provision the computing resource without provider’s intervention</a:t>
          </a:r>
          <a:endParaRPr lang="en-US"/>
        </a:p>
      </dgm:t>
    </dgm:pt>
    <dgm:pt modelId="{E3A3403D-1983-4A5C-9A2F-C06644A71EE5}" type="parTrans" cxnId="{83C53937-CDA5-4864-9FD6-24EB5F60FB4B}">
      <dgm:prSet/>
      <dgm:spPr/>
      <dgm:t>
        <a:bodyPr/>
        <a:lstStyle/>
        <a:p>
          <a:endParaRPr lang="en-US"/>
        </a:p>
      </dgm:t>
    </dgm:pt>
    <dgm:pt modelId="{CAFA4C65-BF8A-4219-BD6E-DC65CE063814}" type="sibTrans" cxnId="{83C53937-CDA5-4864-9FD6-24EB5F60FB4B}">
      <dgm:prSet/>
      <dgm:spPr/>
      <dgm:t>
        <a:bodyPr/>
        <a:lstStyle/>
        <a:p>
          <a:endParaRPr lang="en-US"/>
        </a:p>
      </dgm:t>
    </dgm:pt>
    <dgm:pt modelId="{42CBBFD7-5144-41F3-92B6-BF9EDEC37CB4}">
      <dgm:prSet/>
      <dgm:spPr/>
      <dgm:t>
        <a:bodyPr/>
        <a:lstStyle/>
        <a:p>
          <a:pPr rtl="0"/>
          <a:r>
            <a:rPr lang="en-US" smtClean="0"/>
            <a:t>Ubiquitous Access</a:t>
          </a:r>
          <a:endParaRPr lang="en-US"/>
        </a:p>
      </dgm:t>
    </dgm:pt>
    <dgm:pt modelId="{C8072D5D-05D9-40DA-BB14-E90ABB0CEA26}" type="parTrans" cxnId="{9AB644C9-4E5B-4A76-80FD-72F1D4933E19}">
      <dgm:prSet/>
      <dgm:spPr/>
      <dgm:t>
        <a:bodyPr/>
        <a:lstStyle/>
        <a:p>
          <a:endParaRPr lang="en-US"/>
        </a:p>
      </dgm:t>
    </dgm:pt>
    <dgm:pt modelId="{2FBF4410-052B-4977-85AF-D0B20A66D761}" type="sibTrans" cxnId="{9AB644C9-4E5B-4A76-80FD-72F1D4933E19}">
      <dgm:prSet/>
      <dgm:spPr/>
      <dgm:t>
        <a:bodyPr/>
        <a:lstStyle/>
        <a:p>
          <a:endParaRPr lang="en-US"/>
        </a:p>
      </dgm:t>
    </dgm:pt>
    <dgm:pt modelId="{77B13825-B48B-4E74-83C4-E8E4D2A05A9A}">
      <dgm:prSet/>
      <dgm:spPr/>
      <dgm:t>
        <a:bodyPr/>
        <a:lstStyle/>
        <a:p>
          <a:pPr rtl="0"/>
          <a:r>
            <a:rPr lang="en-US" smtClean="0"/>
            <a:t>Resource can be accessed through network on heterogeneous platforms</a:t>
          </a:r>
          <a:endParaRPr lang="en-US"/>
        </a:p>
      </dgm:t>
    </dgm:pt>
    <dgm:pt modelId="{4708A75C-1AF3-47AD-992F-687E68448114}" type="parTrans" cxnId="{70161C17-CC23-45E5-A426-36DA8E3E59A9}">
      <dgm:prSet/>
      <dgm:spPr/>
      <dgm:t>
        <a:bodyPr/>
        <a:lstStyle/>
        <a:p>
          <a:endParaRPr lang="en-US"/>
        </a:p>
      </dgm:t>
    </dgm:pt>
    <dgm:pt modelId="{C993BD97-E50D-437B-85C1-C245A363DB79}" type="sibTrans" cxnId="{70161C17-CC23-45E5-A426-36DA8E3E59A9}">
      <dgm:prSet/>
      <dgm:spPr/>
      <dgm:t>
        <a:bodyPr/>
        <a:lstStyle/>
        <a:p>
          <a:endParaRPr lang="en-US"/>
        </a:p>
      </dgm:t>
    </dgm:pt>
    <dgm:pt modelId="{5F6476F8-3A57-473B-A2B5-9D68F10CBA1A}">
      <dgm:prSet/>
      <dgm:spPr/>
      <dgm:t>
        <a:bodyPr/>
        <a:lstStyle/>
        <a:p>
          <a:pPr rtl="0"/>
          <a:r>
            <a:rPr lang="en-US" smtClean="0"/>
            <a:t>Location independent access</a:t>
          </a:r>
          <a:endParaRPr lang="en-US"/>
        </a:p>
      </dgm:t>
    </dgm:pt>
    <dgm:pt modelId="{D5E45F1E-E7D4-4356-BD13-A73D38A4AFB0}" type="parTrans" cxnId="{01099B21-A8A3-4F53-8130-138C496C736C}">
      <dgm:prSet/>
      <dgm:spPr/>
      <dgm:t>
        <a:bodyPr/>
        <a:lstStyle/>
        <a:p>
          <a:endParaRPr lang="en-US"/>
        </a:p>
      </dgm:t>
    </dgm:pt>
    <dgm:pt modelId="{C4726C90-7F1E-4174-98A3-4AF80765E891}" type="sibTrans" cxnId="{01099B21-A8A3-4F53-8130-138C496C736C}">
      <dgm:prSet/>
      <dgm:spPr/>
      <dgm:t>
        <a:bodyPr/>
        <a:lstStyle/>
        <a:p>
          <a:endParaRPr lang="en-US"/>
        </a:p>
      </dgm:t>
    </dgm:pt>
    <dgm:pt modelId="{D249A771-FE92-435B-87BA-B6E79C6CC757}">
      <dgm:prSet/>
      <dgm:spPr/>
      <dgm:t>
        <a:bodyPr/>
        <a:lstStyle/>
        <a:p>
          <a:pPr rtl="0"/>
          <a:r>
            <a:rPr lang="en-US" smtClean="0"/>
            <a:t>Resource Pooling</a:t>
          </a:r>
          <a:endParaRPr lang="en-US"/>
        </a:p>
      </dgm:t>
    </dgm:pt>
    <dgm:pt modelId="{8001DF5D-A3D4-49F5-8D29-6A1F75E1B8DB}" type="parTrans" cxnId="{08A92A32-A13A-4701-92EC-07F7DC2D1661}">
      <dgm:prSet/>
      <dgm:spPr/>
      <dgm:t>
        <a:bodyPr/>
        <a:lstStyle/>
        <a:p>
          <a:endParaRPr lang="en-US"/>
        </a:p>
      </dgm:t>
    </dgm:pt>
    <dgm:pt modelId="{49BD3507-0692-4AE7-88EF-F5EBC1E19C15}" type="sibTrans" cxnId="{08A92A32-A13A-4701-92EC-07F7DC2D1661}">
      <dgm:prSet/>
      <dgm:spPr/>
      <dgm:t>
        <a:bodyPr/>
        <a:lstStyle/>
        <a:p>
          <a:endParaRPr lang="en-US"/>
        </a:p>
      </dgm:t>
    </dgm:pt>
    <dgm:pt modelId="{DAB9C63A-472A-45E8-B65A-80B9C44D9329}">
      <dgm:prSet/>
      <dgm:spPr/>
      <dgm:t>
        <a:bodyPr/>
        <a:lstStyle/>
        <a:p>
          <a:pPr rtl="0"/>
          <a:r>
            <a:rPr lang="en-US" smtClean="0"/>
            <a:t>Internally resource needs to be pooled and shared among consumers</a:t>
          </a:r>
          <a:endParaRPr lang="en-US"/>
        </a:p>
      </dgm:t>
    </dgm:pt>
    <dgm:pt modelId="{9EC00487-7DF0-4B9B-BD84-29C965AA11DA}" type="parTrans" cxnId="{FA3A67E2-811D-4E64-8BF0-D68E5ED81C60}">
      <dgm:prSet/>
      <dgm:spPr/>
      <dgm:t>
        <a:bodyPr/>
        <a:lstStyle/>
        <a:p>
          <a:endParaRPr lang="en-US"/>
        </a:p>
      </dgm:t>
    </dgm:pt>
    <dgm:pt modelId="{F0BA8E32-4314-4B45-B51B-EB830CB58ADF}" type="sibTrans" cxnId="{FA3A67E2-811D-4E64-8BF0-D68E5ED81C60}">
      <dgm:prSet/>
      <dgm:spPr/>
      <dgm:t>
        <a:bodyPr/>
        <a:lstStyle/>
        <a:p>
          <a:endParaRPr lang="en-US"/>
        </a:p>
      </dgm:t>
    </dgm:pt>
    <dgm:pt modelId="{6BD4E0DC-89E2-446F-85A6-3F31027BE301}">
      <dgm:prSet/>
      <dgm:spPr/>
      <dgm:t>
        <a:bodyPr/>
        <a:lstStyle/>
        <a:p>
          <a:pPr rtl="0"/>
          <a:r>
            <a:rPr lang="en-US" smtClean="0"/>
            <a:t>Elasticity</a:t>
          </a:r>
          <a:endParaRPr lang="en-US"/>
        </a:p>
      </dgm:t>
    </dgm:pt>
    <dgm:pt modelId="{6D82886B-FFFE-404C-BF3F-95D74705E3C9}" type="parTrans" cxnId="{72E5516C-9DC3-4CD1-B732-A512B5A643B6}">
      <dgm:prSet/>
      <dgm:spPr/>
      <dgm:t>
        <a:bodyPr/>
        <a:lstStyle/>
        <a:p>
          <a:endParaRPr lang="en-US"/>
        </a:p>
      </dgm:t>
    </dgm:pt>
    <dgm:pt modelId="{09567ADB-4CFC-455C-8497-0D3DEEF2FE33}" type="sibTrans" cxnId="{72E5516C-9DC3-4CD1-B732-A512B5A643B6}">
      <dgm:prSet/>
      <dgm:spPr/>
      <dgm:t>
        <a:bodyPr/>
        <a:lstStyle/>
        <a:p>
          <a:endParaRPr lang="en-US"/>
        </a:p>
      </dgm:t>
    </dgm:pt>
    <dgm:pt modelId="{18684883-97C5-41DF-A55C-3B5285CFBF1A}">
      <dgm:prSet/>
      <dgm:spPr/>
      <dgm:t>
        <a:bodyPr/>
        <a:lstStyle/>
        <a:p>
          <a:pPr rtl="0"/>
          <a:r>
            <a:rPr lang="en-US" smtClean="0"/>
            <a:t>Rapid and elastic scale up/down of resource</a:t>
          </a:r>
          <a:endParaRPr lang="en-US"/>
        </a:p>
      </dgm:t>
    </dgm:pt>
    <dgm:pt modelId="{E1266656-21A4-4D7D-B664-C248660C737A}" type="parTrans" cxnId="{8A5D7312-1982-4CEF-A9BE-67DD9A33FB26}">
      <dgm:prSet/>
      <dgm:spPr/>
      <dgm:t>
        <a:bodyPr/>
        <a:lstStyle/>
        <a:p>
          <a:endParaRPr lang="en-US"/>
        </a:p>
      </dgm:t>
    </dgm:pt>
    <dgm:pt modelId="{20EF7E40-1DB6-4E97-BD82-0B23A6FC6F57}" type="sibTrans" cxnId="{8A5D7312-1982-4CEF-A9BE-67DD9A33FB26}">
      <dgm:prSet/>
      <dgm:spPr/>
      <dgm:t>
        <a:bodyPr/>
        <a:lstStyle/>
        <a:p>
          <a:endParaRPr lang="en-US"/>
        </a:p>
      </dgm:t>
    </dgm:pt>
    <dgm:pt modelId="{E4C7FE87-68B9-48C7-9A55-627733B3BC5C}">
      <dgm:prSet/>
      <dgm:spPr/>
      <dgm:t>
        <a:bodyPr/>
        <a:lstStyle/>
        <a:p>
          <a:pPr rtl="0"/>
          <a:r>
            <a:rPr lang="en-US" smtClean="0"/>
            <a:t>Measured Service</a:t>
          </a:r>
          <a:endParaRPr lang="en-US"/>
        </a:p>
      </dgm:t>
    </dgm:pt>
    <dgm:pt modelId="{DA6FDA30-B2DC-44B5-BC6A-2425FF2C6D8C}" type="parTrans" cxnId="{BD302B95-A06F-484E-BA60-3020C03E4836}">
      <dgm:prSet/>
      <dgm:spPr/>
      <dgm:t>
        <a:bodyPr/>
        <a:lstStyle/>
        <a:p>
          <a:endParaRPr lang="en-US"/>
        </a:p>
      </dgm:t>
    </dgm:pt>
    <dgm:pt modelId="{B06A1812-D03C-47B9-A6AE-1270C722A82F}" type="sibTrans" cxnId="{BD302B95-A06F-484E-BA60-3020C03E4836}">
      <dgm:prSet/>
      <dgm:spPr/>
      <dgm:t>
        <a:bodyPr/>
        <a:lstStyle/>
        <a:p>
          <a:endParaRPr lang="en-US"/>
        </a:p>
      </dgm:t>
    </dgm:pt>
    <dgm:pt modelId="{AF9DA189-3021-4B0B-8560-EA4B96839E4E}">
      <dgm:prSet/>
      <dgm:spPr/>
      <dgm:t>
        <a:bodyPr/>
        <a:lstStyle/>
        <a:p>
          <a:pPr rtl="0"/>
          <a:r>
            <a:rPr lang="en-US" smtClean="0"/>
            <a:t>Monitoring and measuring of service</a:t>
          </a:r>
          <a:endParaRPr lang="en-US"/>
        </a:p>
      </dgm:t>
    </dgm:pt>
    <dgm:pt modelId="{971AC74C-64E9-40DE-91A9-D0EC469EAF72}" type="parTrans" cxnId="{ED6EF295-8B92-4EE3-B1D8-066747EC21AE}">
      <dgm:prSet/>
      <dgm:spPr/>
      <dgm:t>
        <a:bodyPr/>
        <a:lstStyle/>
        <a:p>
          <a:endParaRPr lang="en-US"/>
        </a:p>
      </dgm:t>
    </dgm:pt>
    <dgm:pt modelId="{EE77198D-623D-41D1-810D-9AA529F9F97E}" type="sibTrans" cxnId="{ED6EF295-8B92-4EE3-B1D8-066747EC21AE}">
      <dgm:prSet/>
      <dgm:spPr/>
      <dgm:t>
        <a:bodyPr/>
        <a:lstStyle/>
        <a:p>
          <a:endParaRPr lang="en-US"/>
        </a:p>
      </dgm:t>
    </dgm:pt>
    <dgm:pt modelId="{A065D726-9C03-43D6-A58B-3FD1C2FB2FE0}">
      <dgm:prSet/>
      <dgm:spPr/>
      <dgm:t>
        <a:bodyPr/>
        <a:lstStyle/>
        <a:p>
          <a:pPr rtl="0"/>
          <a:r>
            <a:rPr lang="en-US" smtClean="0"/>
            <a:t>Multi-tenancy</a:t>
          </a:r>
          <a:endParaRPr lang="en-US"/>
        </a:p>
      </dgm:t>
    </dgm:pt>
    <dgm:pt modelId="{2FD7F0DD-EDF4-44D2-85CC-CEF34517CCB5}" type="parTrans" cxnId="{3458849B-5047-4D3F-AD17-66D4F027136C}">
      <dgm:prSet/>
      <dgm:spPr/>
      <dgm:t>
        <a:bodyPr/>
        <a:lstStyle/>
        <a:p>
          <a:endParaRPr lang="en-US"/>
        </a:p>
      </dgm:t>
    </dgm:pt>
    <dgm:pt modelId="{A288D9F8-2FDE-4E73-9BBF-FB0C92B4FD3D}" type="sibTrans" cxnId="{3458849B-5047-4D3F-AD17-66D4F027136C}">
      <dgm:prSet/>
      <dgm:spPr/>
      <dgm:t>
        <a:bodyPr/>
        <a:lstStyle/>
        <a:p>
          <a:endParaRPr lang="en-US"/>
        </a:p>
      </dgm:t>
    </dgm:pt>
    <dgm:pt modelId="{00915FDD-7CCA-420A-8E2B-8273FDDC82F6}">
      <dgm:prSet/>
      <dgm:spPr/>
      <dgm:t>
        <a:bodyPr/>
        <a:lstStyle/>
        <a:p>
          <a:pPr rtl="0"/>
          <a:r>
            <a:rPr lang="en-US" smtClean="0"/>
            <a:t>Single application to support distinct class of users</a:t>
          </a:r>
          <a:endParaRPr lang="en-US"/>
        </a:p>
      </dgm:t>
    </dgm:pt>
    <dgm:pt modelId="{05AC0C73-AA51-41CC-8CB4-E47DBE6044FB}" type="parTrans" cxnId="{4E638820-9D3C-4846-A436-A81BCEA3ECDF}">
      <dgm:prSet/>
      <dgm:spPr/>
      <dgm:t>
        <a:bodyPr/>
        <a:lstStyle/>
        <a:p>
          <a:endParaRPr lang="en-US"/>
        </a:p>
      </dgm:t>
    </dgm:pt>
    <dgm:pt modelId="{3199C948-1852-4058-9FE9-BDE4031694CC}" type="sibTrans" cxnId="{4E638820-9D3C-4846-A436-A81BCEA3ECDF}">
      <dgm:prSet/>
      <dgm:spPr/>
      <dgm:t>
        <a:bodyPr/>
        <a:lstStyle/>
        <a:p>
          <a:endParaRPr lang="en-US"/>
        </a:p>
      </dgm:t>
    </dgm:pt>
    <dgm:pt modelId="{6C61411C-F1F6-441F-B1CD-760247D12D17}">
      <dgm:prSet/>
      <dgm:spPr/>
      <dgm:t>
        <a:bodyPr/>
        <a:lstStyle/>
        <a:p>
          <a:pPr rtl="0"/>
          <a:r>
            <a:rPr lang="en-US" smtClean="0"/>
            <a:t>Each class has its own dataset and access rights</a:t>
          </a:r>
          <a:endParaRPr lang="en-US"/>
        </a:p>
      </dgm:t>
    </dgm:pt>
    <dgm:pt modelId="{6A6A6C10-645D-4F67-9700-685E7DA51BA5}" type="parTrans" cxnId="{6D11637A-6B66-4338-AD0B-671AC9F77A3D}">
      <dgm:prSet/>
      <dgm:spPr/>
      <dgm:t>
        <a:bodyPr/>
        <a:lstStyle/>
        <a:p>
          <a:endParaRPr lang="en-US"/>
        </a:p>
      </dgm:t>
    </dgm:pt>
    <dgm:pt modelId="{F53CEC40-AD4C-4318-924C-29F45D9FB5E1}" type="sibTrans" cxnId="{6D11637A-6B66-4338-AD0B-671AC9F77A3D}">
      <dgm:prSet/>
      <dgm:spPr/>
      <dgm:t>
        <a:bodyPr/>
        <a:lstStyle/>
        <a:p>
          <a:endParaRPr lang="en-US"/>
        </a:p>
      </dgm:t>
    </dgm:pt>
    <dgm:pt modelId="{80889328-3C96-470E-8B1A-C8389024ABF5}" type="pres">
      <dgm:prSet presAssocID="{E1ED8FE7-9BFD-45E8-8D36-85BB313A661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4FFEAB9-2937-41F4-8F8E-0B4D1415E6B6}" type="pres">
      <dgm:prSet presAssocID="{5778C949-E1CC-409C-B65E-A48EEFAD8337}" presName="linNode" presStyleCnt="0"/>
      <dgm:spPr/>
    </dgm:pt>
    <dgm:pt modelId="{940D1B2C-ACE2-433B-B98E-29C657F5AE5F}" type="pres">
      <dgm:prSet presAssocID="{5778C949-E1CC-409C-B65E-A48EEFAD8337}" presName="parentText" presStyleLbl="node1" presStyleIdx="0" presStyleCnt="6" custScaleX="7513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107670F-D6C8-47BF-A8BB-B0BF6F596E22}" type="pres">
      <dgm:prSet presAssocID="{5778C949-E1CC-409C-B65E-A48EEFAD8337}" presName="descendantText" presStyleLbl="alignAccFollowNode1" presStyleIdx="0" presStyleCnt="6" custScaleX="121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B5C7A2-5005-41D2-9CA0-B6C575110084}" type="pres">
      <dgm:prSet presAssocID="{0AD81C07-674F-48A5-8996-570033B73A91}" presName="sp" presStyleCnt="0"/>
      <dgm:spPr/>
    </dgm:pt>
    <dgm:pt modelId="{6965B91B-C940-448F-99C5-37A70220442D}" type="pres">
      <dgm:prSet presAssocID="{42CBBFD7-5144-41F3-92B6-BF9EDEC37CB4}" presName="linNode" presStyleCnt="0"/>
      <dgm:spPr/>
    </dgm:pt>
    <dgm:pt modelId="{0B00403F-B441-4195-94F6-4CAF6A7137BB}" type="pres">
      <dgm:prSet presAssocID="{42CBBFD7-5144-41F3-92B6-BF9EDEC37CB4}" presName="parentText" presStyleLbl="node1" presStyleIdx="1" presStyleCnt="6" custScaleX="7513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1C38B8-FBE6-4EDF-BE59-293C4C4673D4}" type="pres">
      <dgm:prSet presAssocID="{42CBBFD7-5144-41F3-92B6-BF9EDEC37CB4}" presName="descendantText" presStyleLbl="alignAccFollowNode1" presStyleIdx="1" presStyleCnt="6" custScaleX="121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247B363-65E7-4062-8F1C-8B1D18BDDBD5}" type="pres">
      <dgm:prSet presAssocID="{2FBF4410-052B-4977-85AF-D0B20A66D761}" presName="sp" presStyleCnt="0"/>
      <dgm:spPr/>
    </dgm:pt>
    <dgm:pt modelId="{3BFBA7A6-0CFD-4860-B43E-0F41DCCC5258}" type="pres">
      <dgm:prSet presAssocID="{D249A771-FE92-435B-87BA-B6E79C6CC757}" presName="linNode" presStyleCnt="0"/>
      <dgm:spPr/>
    </dgm:pt>
    <dgm:pt modelId="{80ED640A-0F5E-4BE3-95CA-DA8DD5FB78DA}" type="pres">
      <dgm:prSet presAssocID="{D249A771-FE92-435B-87BA-B6E79C6CC757}" presName="parentText" presStyleLbl="node1" presStyleIdx="2" presStyleCnt="6" custScaleX="7513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666BD5B-1357-48D8-9F5F-5FE154146C93}" type="pres">
      <dgm:prSet presAssocID="{D249A771-FE92-435B-87BA-B6E79C6CC757}" presName="descendantText" presStyleLbl="alignAccFollowNode1" presStyleIdx="2" presStyleCnt="6" custScaleX="121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3EFD41-63FD-489B-A45B-4EF08A5FDB63}" type="pres">
      <dgm:prSet presAssocID="{49BD3507-0692-4AE7-88EF-F5EBC1E19C15}" presName="sp" presStyleCnt="0"/>
      <dgm:spPr/>
    </dgm:pt>
    <dgm:pt modelId="{9CBEC204-33AF-48FB-B8F7-DE9025BDC635}" type="pres">
      <dgm:prSet presAssocID="{6BD4E0DC-89E2-446F-85A6-3F31027BE301}" presName="linNode" presStyleCnt="0"/>
      <dgm:spPr/>
    </dgm:pt>
    <dgm:pt modelId="{EE6DACEB-85B1-4C26-8E95-FFF414FC0033}" type="pres">
      <dgm:prSet presAssocID="{6BD4E0DC-89E2-446F-85A6-3F31027BE301}" presName="parentText" presStyleLbl="node1" presStyleIdx="3" presStyleCnt="6" custScaleX="7513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0DE0264-FDA3-404C-88C3-0E901A03F235}" type="pres">
      <dgm:prSet presAssocID="{6BD4E0DC-89E2-446F-85A6-3F31027BE301}" presName="descendantText" presStyleLbl="alignAccFollowNode1" presStyleIdx="3" presStyleCnt="6" custScaleX="121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9F0218C-7775-4E79-AC10-1CBCAD3A08F4}" type="pres">
      <dgm:prSet presAssocID="{09567ADB-4CFC-455C-8497-0D3DEEF2FE33}" presName="sp" presStyleCnt="0"/>
      <dgm:spPr/>
    </dgm:pt>
    <dgm:pt modelId="{ECAC580B-1682-4E13-BB29-686F79AC7DE3}" type="pres">
      <dgm:prSet presAssocID="{E4C7FE87-68B9-48C7-9A55-627733B3BC5C}" presName="linNode" presStyleCnt="0"/>
      <dgm:spPr/>
    </dgm:pt>
    <dgm:pt modelId="{3B37576A-EACF-4927-A1C3-6117F62BF5FD}" type="pres">
      <dgm:prSet presAssocID="{E4C7FE87-68B9-48C7-9A55-627733B3BC5C}" presName="parentText" presStyleLbl="node1" presStyleIdx="4" presStyleCnt="6" custScaleX="7513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F34EB3-A71D-4853-9FBB-F41467E94C28}" type="pres">
      <dgm:prSet presAssocID="{E4C7FE87-68B9-48C7-9A55-627733B3BC5C}" presName="descendantText" presStyleLbl="alignAccFollowNode1" presStyleIdx="4" presStyleCnt="6" custScaleX="121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77A0E7-F390-46DC-81C3-247BE31C55C9}" type="pres">
      <dgm:prSet presAssocID="{B06A1812-D03C-47B9-A6AE-1270C722A82F}" presName="sp" presStyleCnt="0"/>
      <dgm:spPr/>
    </dgm:pt>
    <dgm:pt modelId="{422FBFC6-9EB0-4FF2-B959-CE4A37528279}" type="pres">
      <dgm:prSet presAssocID="{A065D726-9C03-43D6-A58B-3FD1C2FB2FE0}" presName="linNode" presStyleCnt="0"/>
      <dgm:spPr/>
    </dgm:pt>
    <dgm:pt modelId="{C5E91D70-30C1-484C-A8D4-19A8D9C9F3E5}" type="pres">
      <dgm:prSet presAssocID="{A065D726-9C03-43D6-A58B-3FD1C2FB2FE0}" presName="parentText" presStyleLbl="node1" presStyleIdx="5" presStyleCnt="6" custScaleX="7513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0669E3C-8107-4773-A401-987613B3BCB3}" type="pres">
      <dgm:prSet presAssocID="{A065D726-9C03-43D6-A58B-3FD1C2FB2FE0}" presName="descendantText" presStyleLbl="alignAccFollowNode1" presStyleIdx="5" presStyleCnt="6" custScaleX="121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D302B95-A06F-484E-BA60-3020C03E4836}" srcId="{E1ED8FE7-9BFD-45E8-8D36-85BB313A6612}" destId="{E4C7FE87-68B9-48C7-9A55-627733B3BC5C}" srcOrd="4" destOrd="0" parTransId="{DA6FDA30-B2DC-44B5-BC6A-2425FF2C6D8C}" sibTransId="{B06A1812-D03C-47B9-A6AE-1270C722A82F}"/>
    <dgm:cxn modelId="{72E5516C-9DC3-4CD1-B732-A512B5A643B6}" srcId="{E1ED8FE7-9BFD-45E8-8D36-85BB313A6612}" destId="{6BD4E0DC-89E2-446F-85A6-3F31027BE301}" srcOrd="3" destOrd="0" parTransId="{6D82886B-FFFE-404C-BF3F-95D74705E3C9}" sibTransId="{09567ADB-4CFC-455C-8497-0D3DEEF2FE33}"/>
    <dgm:cxn modelId="{B5C1FAF7-64A0-41C7-8EC6-93AF605D8131}" type="presOf" srcId="{5778C949-E1CC-409C-B65E-A48EEFAD8337}" destId="{940D1B2C-ACE2-433B-B98E-29C657F5AE5F}" srcOrd="0" destOrd="0" presId="urn:microsoft.com/office/officeart/2005/8/layout/vList5"/>
    <dgm:cxn modelId="{BABA39C1-B37D-4C0B-94AE-8AF45A529456}" type="presOf" srcId="{5F6476F8-3A57-473B-A2B5-9D68F10CBA1A}" destId="{AC1C38B8-FBE6-4EDF-BE59-293C4C4673D4}" srcOrd="0" destOrd="1" presId="urn:microsoft.com/office/officeart/2005/8/layout/vList5"/>
    <dgm:cxn modelId="{FED7FA33-174D-449F-BBEA-527075F1E1E5}" type="presOf" srcId="{E4C7FE87-68B9-48C7-9A55-627733B3BC5C}" destId="{3B37576A-EACF-4927-A1C3-6117F62BF5FD}" srcOrd="0" destOrd="0" presId="urn:microsoft.com/office/officeart/2005/8/layout/vList5"/>
    <dgm:cxn modelId="{F17129D8-B5A3-4740-B79B-E5D672E5D09D}" type="presOf" srcId="{77B13825-B48B-4E74-83C4-E8E4D2A05A9A}" destId="{AC1C38B8-FBE6-4EDF-BE59-293C4C4673D4}" srcOrd="0" destOrd="0" presId="urn:microsoft.com/office/officeart/2005/8/layout/vList5"/>
    <dgm:cxn modelId="{AB1E07DD-6777-424F-ACB2-DC81EBB2DFD2}" type="presOf" srcId="{6C61411C-F1F6-441F-B1CD-760247D12D17}" destId="{30669E3C-8107-4773-A401-987613B3BCB3}" srcOrd="0" destOrd="1" presId="urn:microsoft.com/office/officeart/2005/8/layout/vList5"/>
    <dgm:cxn modelId="{9AB644C9-4E5B-4A76-80FD-72F1D4933E19}" srcId="{E1ED8FE7-9BFD-45E8-8D36-85BB313A6612}" destId="{42CBBFD7-5144-41F3-92B6-BF9EDEC37CB4}" srcOrd="1" destOrd="0" parTransId="{C8072D5D-05D9-40DA-BB14-E90ABB0CEA26}" sibTransId="{2FBF4410-052B-4977-85AF-D0B20A66D761}"/>
    <dgm:cxn modelId="{FA3A67E2-811D-4E64-8BF0-D68E5ED81C60}" srcId="{D249A771-FE92-435B-87BA-B6E79C6CC757}" destId="{DAB9C63A-472A-45E8-B65A-80B9C44D9329}" srcOrd="0" destOrd="0" parTransId="{9EC00487-7DF0-4B9B-BD84-29C965AA11DA}" sibTransId="{F0BA8E32-4314-4B45-B51B-EB830CB58ADF}"/>
    <dgm:cxn modelId="{8D9CF893-D6CB-4B70-AB15-125DCC1AEF0D}" type="presOf" srcId="{18684883-97C5-41DF-A55C-3B5285CFBF1A}" destId="{B0DE0264-FDA3-404C-88C3-0E901A03F235}" srcOrd="0" destOrd="0" presId="urn:microsoft.com/office/officeart/2005/8/layout/vList5"/>
    <dgm:cxn modelId="{83C53937-CDA5-4864-9FD6-24EB5F60FB4B}" srcId="{5778C949-E1CC-409C-B65E-A48EEFAD8337}" destId="{D5DAEAA9-D0EF-4BDA-9A06-610790E68C0D}" srcOrd="0" destOrd="0" parTransId="{E3A3403D-1983-4A5C-9A2F-C06644A71EE5}" sibTransId="{CAFA4C65-BF8A-4219-BD6E-DC65CE063814}"/>
    <dgm:cxn modelId="{8A5D7312-1982-4CEF-A9BE-67DD9A33FB26}" srcId="{6BD4E0DC-89E2-446F-85A6-3F31027BE301}" destId="{18684883-97C5-41DF-A55C-3B5285CFBF1A}" srcOrd="0" destOrd="0" parTransId="{E1266656-21A4-4D7D-B664-C248660C737A}" sibTransId="{20EF7E40-1DB6-4E97-BD82-0B23A6FC6F57}"/>
    <dgm:cxn modelId="{AD008107-C169-46E3-84AD-48FDA0E88E9A}" type="presOf" srcId="{A065D726-9C03-43D6-A58B-3FD1C2FB2FE0}" destId="{C5E91D70-30C1-484C-A8D4-19A8D9C9F3E5}" srcOrd="0" destOrd="0" presId="urn:microsoft.com/office/officeart/2005/8/layout/vList5"/>
    <dgm:cxn modelId="{3D50184C-8263-41BB-8ED1-555F6071EF9C}" type="presOf" srcId="{42CBBFD7-5144-41F3-92B6-BF9EDEC37CB4}" destId="{0B00403F-B441-4195-94F6-4CAF6A7137BB}" srcOrd="0" destOrd="0" presId="urn:microsoft.com/office/officeart/2005/8/layout/vList5"/>
    <dgm:cxn modelId="{08A92A32-A13A-4701-92EC-07F7DC2D1661}" srcId="{E1ED8FE7-9BFD-45E8-8D36-85BB313A6612}" destId="{D249A771-FE92-435B-87BA-B6E79C6CC757}" srcOrd="2" destOrd="0" parTransId="{8001DF5D-A3D4-49F5-8D29-6A1F75E1B8DB}" sibTransId="{49BD3507-0692-4AE7-88EF-F5EBC1E19C15}"/>
    <dgm:cxn modelId="{3458849B-5047-4D3F-AD17-66D4F027136C}" srcId="{E1ED8FE7-9BFD-45E8-8D36-85BB313A6612}" destId="{A065D726-9C03-43D6-A58B-3FD1C2FB2FE0}" srcOrd="5" destOrd="0" parTransId="{2FD7F0DD-EDF4-44D2-85CC-CEF34517CCB5}" sibTransId="{A288D9F8-2FDE-4E73-9BBF-FB0C92B4FD3D}"/>
    <dgm:cxn modelId="{01099B21-A8A3-4F53-8130-138C496C736C}" srcId="{42CBBFD7-5144-41F3-92B6-BF9EDEC37CB4}" destId="{5F6476F8-3A57-473B-A2B5-9D68F10CBA1A}" srcOrd="1" destOrd="0" parTransId="{D5E45F1E-E7D4-4356-BD13-A73D38A4AFB0}" sibTransId="{C4726C90-7F1E-4174-98A3-4AF80765E891}"/>
    <dgm:cxn modelId="{EF4A3694-7ECB-4FA3-9820-56B256B65E44}" type="presOf" srcId="{6BD4E0DC-89E2-446F-85A6-3F31027BE301}" destId="{EE6DACEB-85B1-4C26-8E95-FFF414FC0033}" srcOrd="0" destOrd="0" presId="urn:microsoft.com/office/officeart/2005/8/layout/vList5"/>
    <dgm:cxn modelId="{28563414-84D9-4E4D-8331-115645BD948B}" type="presOf" srcId="{DAB9C63A-472A-45E8-B65A-80B9C44D9329}" destId="{9666BD5B-1357-48D8-9F5F-5FE154146C93}" srcOrd="0" destOrd="0" presId="urn:microsoft.com/office/officeart/2005/8/layout/vList5"/>
    <dgm:cxn modelId="{6BA58E77-A3B6-4CD9-97A1-C595F64D5875}" type="presOf" srcId="{AF9DA189-3021-4B0B-8560-EA4B96839E4E}" destId="{8BF34EB3-A71D-4853-9FBB-F41467E94C28}" srcOrd="0" destOrd="0" presId="urn:microsoft.com/office/officeart/2005/8/layout/vList5"/>
    <dgm:cxn modelId="{4E638820-9D3C-4846-A436-A81BCEA3ECDF}" srcId="{A065D726-9C03-43D6-A58B-3FD1C2FB2FE0}" destId="{00915FDD-7CCA-420A-8E2B-8273FDDC82F6}" srcOrd="0" destOrd="0" parTransId="{05AC0C73-AA51-41CC-8CB4-E47DBE6044FB}" sibTransId="{3199C948-1852-4058-9FE9-BDE4031694CC}"/>
    <dgm:cxn modelId="{70161C17-CC23-45E5-A426-36DA8E3E59A9}" srcId="{42CBBFD7-5144-41F3-92B6-BF9EDEC37CB4}" destId="{77B13825-B48B-4E74-83C4-E8E4D2A05A9A}" srcOrd="0" destOrd="0" parTransId="{4708A75C-1AF3-47AD-992F-687E68448114}" sibTransId="{C993BD97-E50D-437B-85C1-C245A363DB79}"/>
    <dgm:cxn modelId="{CD6174E5-1EEE-4291-A26F-57DE6AB48F89}" type="presOf" srcId="{D5DAEAA9-D0EF-4BDA-9A06-610790E68C0D}" destId="{C107670F-D6C8-47BF-A8BB-B0BF6F596E22}" srcOrd="0" destOrd="0" presId="urn:microsoft.com/office/officeart/2005/8/layout/vList5"/>
    <dgm:cxn modelId="{6D11637A-6B66-4338-AD0B-671AC9F77A3D}" srcId="{A065D726-9C03-43D6-A58B-3FD1C2FB2FE0}" destId="{6C61411C-F1F6-441F-B1CD-760247D12D17}" srcOrd="1" destOrd="0" parTransId="{6A6A6C10-645D-4F67-9700-685E7DA51BA5}" sibTransId="{F53CEC40-AD4C-4318-924C-29F45D9FB5E1}"/>
    <dgm:cxn modelId="{ED6EF295-8B92-4EE3-B1D8-066747EC21AE}" srcId="{E4C7FE87-68B9-48C7-9A55-627733B3BC5C}" destId="{AF9DA189-3021-4B0B-8560-EA4B96839E4E}" srcOrd="0" destOrd="0" parTransId="{971AC74C-64E9-40DE-91A9-D0EC469EAF72}" sibTransId="{EE77198D-623D-41D1-810D-9AA529F9F97E}"/>
    <dgm:cxn modelId="{96D5AE0F-DBCE-4600-96E3-385AA4994FF7}" type="presOf" srcId="{E1ED8FE7-9BFD-45E8-8D36-85BB313A6612}" destId="{80889328-3C96-470E-8B1A-C8389024ABF5}" srcOrd="0" destOrd="0" presId="urn:microsoft.com/office/officeart/2005/8/layout/vList5"/>
    <dgm:cxn modelId="{4782182B-9EB9-4E50-AF1E-B8DB4BB8F2D0}" type="presOf" srcId="{D249A771-FE92-435B-87BA-B6E79C6CC757}" destId="{80ED640A-0F5E-4BE3-95CA-DA8DD5FB78DA}" srcOrd="0" destOrd="0" presId="urn:microsoft.com/office/officeart/2005/8/layout/vList5"/>
    <dgm:cxn modelId="{EBF31012-7064-4C65-9EA3-3232521268F3}" srcId="{E1ED8FE7-9BFD-45E8-8D36-85BB313A6612}" destId="{5778C949-E1CC-409C-B65E-A48EEFAD8337}" srcOrd="0" destOrd="0" parTransId="{D8C4B0A0-8DF0-4D32-B087-2D6190A6DBA0}" sibTransId="{0AD81C07-674F-48A5-8996-570033B73A91}"/>
    <dgm:cxn modelId="{1FCF8FF7-ABFA-4406-ADA4-11BCB9E566CF}" type="presOf" srcId="{00915FDD-7CCA-420A-8E2B-8273FDDC82F6}" destId="{30669E3C-8107-4773-A401-987613B3BCB3}" srcOrd="0" destOrd="0" presId="urn:microsoft.com/office/officeart/2005/8/layout/vList5"/>
    <dgm:cxn modelId="{6B9C84B2-5392-4096-8ED2-DB022087A205}" type="presParOf" srcId="{80889328-3C96-470E-8B1A-C8389024ABF5}" destId="{A4FFEAB9-2937-41F4-8F8E-0B4D1415E6B6}" srcOrd="0" destOrd="0" presId="urn:microsoft.com/office/officeart/2005/8/layout/vList5"/>
    <dgm:cxn modelId="{91C80E3A-F186-4099-86DC-D18E98A53CAD}" type="presParOf" srcId="{A4FFEAB9-2937-41F4-8F8E-0B4D1415E6B6}" destId="{940D1B2C-ACE2-433B-B98E-29C657F5AE5F}" srcOrd="0" destOrd="0" presId="urn:microsoft.com/office/officeart/2005/8/layout/vList5"/>
    <dgm:cxn modelId="{F8DB6D6D-A83D-457F-B001-5577F56CE745}" type="presParOf" srcId="{A4FFEAB9-2937-41F4-8F8E-0B4D1415E6B6}" destId="{C107670F-D6C8-47BF-A8BB-B0BF6F596E22}" srcOrd="1" destOrd="0" presId="urn:microsoft.com/office/officeart/2005/8/layout/vList5"/>
    <dgm:cxn modelId="{B000FFBA-3209-46C2-8770-873AC89AD16E}" type="presParOf" srcId="{80889328-3C96-470E-8B1A-C8389024ABF5}" destId="{F0B5C7A2-5005-41D2-9CA0-B6C575110084}" srcOrd="1" destOrd="0" presId="urn:microsoft.com/office/officeart/2005/8/layout/vList5"/>
    <dgm:cxn modelId="{DDB80018-6E27-4E76-8319-6CC5E9E5B544}" type="presParOf" srcId="{80889328-3C96-470E-8B1A-C8389024ABF5}" destId="{6965B91B-C940-448F-99C5-37A70220442D}" srcOrd="2" destOrd="0" presId="urn:microsoft.com/office/officeart/2005/8/layout/vList5"/>
    <dgm:cxn modelId="{69EEE13C-7D5B-4115-AB8C-754AC77A55F4}" type="presParOf" srcId="{6965B91B-C940-448F-99C5-37A70220442D}" destId="{0B00403F-B441-4195-94F6-4CAF6A7137BB}" srcOrd="0" destOrd="0" presId="urn:microsoft.com/office/officeart/2005/8/layout/vList5"/>
    <dgm:cxn modelId="{8F0EE44C-86C8-4D90-BFF2-F0A6A6CA7855}" type="presParOf" srcId="{6965B91B-C940-448F-99C5-37A70220442D}" destId="{AC1C38B8-FBE6-4EDF-BE59-293C4C4673D4}" srcOrd="1" destOrd="0" presId="urn:microsoft.com/office/officeart/2005/8/layout/vList5"/>
    <dgm:cxn modelId="{D8A10292-27ED-436C-BD13-5C000E730631}" type="presParOf" srcId="{80889328-3C96-470E-8B1A-C8389024ABF5}" destId="{2247B363-65E7-4062-8F1C-8B1D18BDDBD5}" srcOrd="3" destOrd="0" presId="urn:microsoft.com/office/officeart/2005/8/layout/vList5"/>
    <dgm:cxn modelId="{075199C8-73DB-4C91-B0BC-45761438045A}" type="presParOf" srcId="{80889328-3C96-470E-8B1A-C8389024ABF5}" destId="{3BFBA7A6-0CFD-4860-B43E-0F41DCCC5258}" srcOrd="4" destOrd="0" presId="urn:microsoft.com/office/officeart/2005/8/layout/vList5"/>
    <dgm:cxn modelId="{98159385-636B-4491-B77E-005CFE2BD23C}" type="presParOf" srcId="{3BFBA7A6-0CFD-4860-B43E-0F41DCCC5258}" destId="{80ED640A-0F5E-4BE3-95CA-DA8DD5FB78DA}" srcOrd="0" destOrd="0" presId="urn:microsoft.com/office/officeart/2005/8/layout/vList5"/>
    <dgm:cxn modelId="{524B8FFC-F957-42EC-9F12-D8CE574DDB67}" type="presParOf" srcId="{3BFBA7A6-0CFD-4860-B43E-0F41DCCC5258}" destId="{9666BD5B-1357-48D8-9F5F-5FE154146C93}" srcOrd="1" destOrd="0" presId="urn:microsoft.com/office/officeart/2005/8/layout/vList5"/>
    <dgm:cxn modelId="{CADBF79E-2AEA-49C7-BAB1-3F85094B9D3A}" type="presParOf" srcId="{80889328-3C96-470E-8B1A-C8389024ABF5}" destId="{663EFD41-63FD-489B-A45B-4EF08A5FDB63}" srcOrd="5" destOrd="0" presId="urn:microsoft.com/office/officeart/2005/8/layout/vList5"/>
    <dgm:cxn modelId="{A35FB57E-470B-4DBB-804A-761E9C3F12D8}" type="presParOf" srcId="{80889328-3C96-470E-8B1A-C8389024ABF5}" destId="{9CBEC204-33AF-48FB-B8F7-DE9025BDC635}" srcOrd="6" destOrd="0" presId="urn:microsoft.com/office/officeart/2005/8/layout/vList5"/>
    <dgm:cxn modelId="{DD914CAD-FB93-433B-AC91-A5D9CCFEFAC9}" type="presParOf" srcId="{9CBEC204-33AF-48FB-B8F7-DE9025BDC635}" destId="{EE6DACEB-85B1-4C26-8E95-FFF414FC0033}" srcOrd="0" destOrd="0" presId="urn:microsoft.com/office/officeart/2005/8/layout/vList5"/>
    <dgm:cxn modelId="{541A2B39-4D64-4188-8652-956BB9C81ECB}" type="presParOf" srcId="{9CBEC204-33AF-48FB-B8F7-DE9025BDC635}" destId="{B0DE0264-FDA3-404C-88C3-0E901A03F235}" srcOrd="1" destOrd="0" presId="urn:microsoft.com/office/officeart/2005/8/layout/vList5"/>
    <dgm:cxn modelId="{642333B6-52D9-47CD-84AC-A9B615CA1FCF}" type="presParOf" srcId="{80889328-3C96-470E-8B1A-C8389024ABF5}" destId="{99F0218C-7775-4E79-AC10-1CBCAD3A08F4}" srcOrd="7" destOrd="0" presId="urn:microsoft.com/office/officeart/2005/8/layout/vList5"/>
    <dgm:cxn modelId="{3742DEF7-9898-4EAE-B566-9B4D6874A285}" type="presParOf" srcId="{80889328-3C96-470E-8B1A-C8389024ABF5}" destId="{ECAC580B-1682-4E13-BB29-686F79AC7DE3}" srcOrd="8" destOrd="0" presId="urn:microsoft.com/office/officeart/2005/8/layout/vList5"/>
    <dgm:cxn modelId="{DB007DBA-62CA-4287-A9DC-1B66BFDEE497}" type="presParOf" srcId="{ECAC580B-1682-4E13-BB29-686F79AC7DE3}" destId="{3B37576A-EACF-4927-A1C3-6117F62BF5FD}" srcOrd="0" destOrd="0" presId="urn:microsoft.com/office/officeart/2005/8/layout/vList5"/>
    <dgm:cxn modelId="{4DF8CF5A-C829-420A-AE4C-AA748BFC085A}" type="presParOf" srcId="{ECAC580B-1682-4E13-BB29-686F79AC7DE3}" destId="{8BF34EB3-A71D-4853-9FBB-F41467E94C28}" srcOrd="1" destOrd="0" presId="urn:microsoft.com/office/officeart/2005/8/layout/vList5"/>
    <dgm:cxn modelId="{85004331-8DAD-4A27-913C-5A93F2CE42E1}" type="presParOf" srcId="{80889328-3C96-470E-8B1A-C8389024ABF5}" destId="{BD77A0E7-F390-46DC-81C3-247BE31C55C9}" srcOrd="9" destOrd="0" presId="urn:microsoft.com/office/officeart/2005/8/layout/vList5"/>
    <dgm:cxn modelId="{9C445F16-CD75-4FA2-9B03-D5A7226844F4}" type="presParOf" srcId="{80889328-3C96-470E-8B1A-C8389024ABF5}" destId="{422FBFC6-9EB0-4FF2-B959-CE4A37528279}" srcOrd="10" destOrd="0" presId="urn:microsoft.com/office/officeart/2005/8/layout/vList5"/>
    <dgm:cxn modelId="{464FA301-70AF-463B-AE1F-C3A2FDAF285E}" type="presParOf" srcId="{422FBFC6-9EB0-4FF2-B959-CE4A37528279}" destId="{C5E91D70-30C1-484C-A8D4-19A8D9C9F3E5}" srcOrd="0" destOrd="0" presId="urn:microsoft.com/office/officeart/2005/8/layout/vList5"/>
    <dgm:cxn modelId="{91EEECD2-A336-48B1-9F56-3DC16546E032}" type="presParOf" srcId="{422FBFC6-9EB0-4FF2-B959-CE4A37528279}" destId="{30669E3C-8107-4773-A401-987613B3BCB3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1D5BB5F-5892-46B1-8227-286F6C502A7E}" type="doc">
      <dgm:prSet loTypeId="urn:microsoft.com/office/officeart/2005/8/layout/vList2" loCatId="list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8D8F6A5D-3D41-4F6C-A0A1-DA7688C7D0FA}">
      <dgm:prSet custT="1"/>
      <dgm:spPr/>
      <dgm:t>
        <a:bodyPr lIns="0" rIns="0"/>
        <a:lstStyle/>
        <a:p>
          <a:pPr rtl="0"/>
          <a:r>
            <a:rPr lang="en-US" sz="1800" dirty="0" smtClean="0"/>
            <a:t>Consumer can provision the computing resource without provider’s intervention</a:t>
          </a:r>
          <a:endParaRPr lang="en-US" sz="1800" dirty="0"/>
        </a:p>
      </dgm:t>
    </dgm:pt>
    <dgm:pt modelId="{23311001-42F3-425F-87A1-57A2C5D0493E}" type="parTrans" cxnId="{64F90744-346E-44B7-A7B1-4835D09EEE59}">
      <dgm:prSet/>
      <dgm:spPr/>
      <dgm:t>
        <a:bodyPr/>
        <a:lstStyle/>
        <a:p>
          <a:endParaRPr lang="en-US" sz="1800"/>
        </a:p>
      </dgm:t>
    </dgm:pt>
    <dgm:pt modelId="{81B825ED-C68E-4220-9A5F-FE3E752F4C95}" type="sibTrans" cxnId="{64F90744-346E-44B7-A7B1-4835D09EEE59}">
      <dgm:prSet/>
      <dgm:spPr/>
      <dgm:t>
        <a:bodyPr/>
        <a:lstStyle/>
        <a:p>
          <a:endParaRPr lang="en-US" sz="1800"/>
        </a:p>
      </dgm:t>
    </dgm:pt>
    <dgm:pt modelId="{7256FD11-6485-4073-AA99-0697E91798C4}">
      <dgm:prSet custT="1"/>
      <dgm:spPr/>
      <dgm:t>
        <a:bodyPr lIns="0" rIns="0"/>
        <a:lstStyle/>
        <a:p>
          <a:pPr rtl="0"/>
          <a:r>
            <a:rPr lang="en-US" sz="1800" smtClean="0"/>
            <a:t>Resource can be accessed through network</a:t>
          </a:r>
          <a:endParaRPr lang="en-US" sz="1800"/>
        </a:p>
      </dgm:t>
    </dgm:pt>
    <dgm:pt modelId="{29FF892B-C156-42DA-A951-830D596FBA3C}" type="parTrans" cxnId="{81E4C6E6-647E-4C8C-ADA3-AC343E29188E}">
      <dgm:prSet/>
      <dgm:spPr/>
      <dgm:t>
        <a:bodyPr/>
        <a:lstStyle/>
        <a:p>
          <a:endParaRPr lang="en-US" sz="1800"/>
        </a:p>
      </dgm:t>
    </dgm:pt>
    <dgm:pt modelId="{E5C7B35E-EF6A-4982-9C61-E626A733A9A3}" type="sibTrans" cxnId="{81E4C6E6-647E-4C8C-ADA3-AC343E29188E}">
      <dgm:prSet/>
      <dgm:spPr/>
      <dgm:t>
        <a:bodyPr/>
        <a:lstStyle/>
        <a:p>
          <a:endParaRPr lang="en-US" sz="1800"/>
        </a:p>
      </dgm:t>
    </dgm:pt>
    <dgm:pt modelId="{FBF77617-6032-4B27-B093-A49559FEA0A4}">
      <dgm:prSet custT="1"/>
      <dgm:spPr/>
      <dgm:t>
        <a:bodyPr lIns="0" rIns="0"/>
        <a:lstStyle/>
        <a:p>
          <a:pPr rtl="0"/>
          <a:r>
            <a:rPr lang="en-US" sz="1800" smtClean="0"/>
            <a:t>Internally resource needs to be pooled and shared among consumers</a:t>
          </a:r>
          <a:endParaRPr lang="en-US" sz="1800"/>
        </a:p>
      </dgm:t>
    </dgm:pt>
    <dgm:pt modelId="{7D80CF67-42D3-43E0-B8F9-5C3D22FD310C}" type="parTrans" cxnId="{4C914233-B489-4662-9F50-193D8BFC0588}">
      <dgm:prSet/>
      <dgm:spPr/>
      <dgm:t>
        <a:bodyPr/>
        <a:lstStyle/>
        <a:p>
          <a:endParaRPr lang="en-US" sz="1800"/>
        </a:p>
      </dgm:t>
    </dgm:pt>
    <dgm:pt modelId="{EF63D9E8-5E53-43A8-BD59-3952BC93E2BC}" type="sibTrans" cxnId="{4C914233-B489-4662-9F50-193D8BFC0588}">
      <dgm:prSet/>
      <dgm:spPr/>
      <dgm:t>
        <a:bodyPr/>
        <a:lstStyle/>
        <a:p>
          <a:endParaRPr lang="en-US" sz="1800"/>
        </a:p>
      </dgm:t>
    </dgm:pt>
    <dgm:pt modelId="{2750816F-8FD0-4D99-9BAC-426FB4C3F0BD}">
      <dgm:prSet custT="1"/>
      <dgm:spPr/>
      <dgm:t>
        <a:bodyPr lIns="0" rIns="0"/>
        <a:lstStyle/>
        <a:p>
          <a:pPr rtl="0"/>
          <a:r>
            <a:rPr lang="en-US" sz="1800" smtClean="0"/>
            <a:t>Rapid and elastic scale up/down of resource</a:t>
          </a:r>
          <a:endParaRPr lang="en-US" sz="1800"/>
        </a:p>
      </dgm:t>
    </dgm:pt>
    <dgm:pt modelId="{9E63A77C-B25C-4AA1-9338-FA6F1A0E2F8C}" type="parTrans" cxnId="{32325B2B-6A53-4906-B86A-673D33313C34}">
      <dgm:prSet/>
      <dgm:spPr/>
      <dgm:t>
        <a:bodyPr/>
        <a:lstStyle/>
        <a:p>
          <a:endParaRPr lang="en-US" sz="1800"/>
        </a:p>
      </dgm:t>
    </dgm:pt>
    <dgm:pt modelId="{BE83B71F-2D26-412A-B0E5-90BEDBD1F4A9}" type="sibTrans" cxnId="{32325B2B-6A53-4906-B86A-673D33313C34}">
      <dgm:prSet/>
      <dgm:spPr/>
      <dgm:t>
        <a:bodyPr/>
        <a:lstStyle/>
        <a:p>
          <a:endParaRPr lang="en-US" sz="1800"/>
        </a:p>
      </dgm:t>
    </dgm:pt>
    <dgm:pt modelId="{847E2CC4-FFD4-414D-BD76-BB50337509F2}">
      <dgm:prSet custT="1"/>
      <dgm:spPr/>
      <dgm:t>
        <a:bodyPr lIns="0" rIns="0"/>
        <a:lstStyle/>
        <a:p>
          <a:pPr rtl="0"/>
          <a:r>
            <a:rPr lang="en-US" sz="1800" smtClean="0"/>
            <a:t>Monitoring and measuring of service </a:t>
          </a:r>
          <a:endParaRPr lang="en-US" sz="1800"/>
        </a:p>
      </dgm:t>
    </dgm:pt>
    <dgm:pt modelId="{BE029CAC-B572-466C-9A95-A5F46A9A0865}" type="parTrans" cxnId="{44447526-7A66-4A6E-8971-B68E60CE2CB0}">
      <dgm:prSet/>
      <dgm:spPr/>
      <dgm:t>
        <a:bodyPr/>
        <a:lstStyle/>
        <a:p>
          <a:endParaRPr lang="en-US" sz="1800"/>
        </a:p>
      </dgm:t>
    </dgm:pt>
    <dgm:pt modelId="{148EC346-4D31-4583-803A-4EE048751B6B}" type="sibTrans" cxnId="{44447526-7A66-4A6E-8971-B68E60CE2CB0}">
      <dgm:prSet/>
      <dgm:spPr/>
      <dgm:t>
        <a:bodyPr/>
        <a:lstStyle/>
        <a:p>
          <a:endParaRPr lang="en-US" sz="1800"/>
        </a:p>
      </dgm:t>
    </dgm:pt>
    <dgm:pt modelId="{93A898B1-6336-462A-85AB-68377FADCA7F}" type="pres">
      <dgm:prSet presAssocID="{21D5BB5F-5892-46B1-8227-286F6C502A7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9CD8BE8-0852-4380-B10F-BDBDDD163B33}" type="pres">
      <dgm:prSet presAssocID="{8D8F6A5D-3D41-4F6C-A0A1-DA7688C7D0FA}" presName="parentText" presStyleLbl="node1" presStyleIdx="0" presStyleCnt="5" custScaleY="81083" custLinFactNeighborX="-12855" custLinFactNeighborY="-3701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89544AE-3E19-41C4-B676-69BFE7EF7E63}" type="pres">
      <dgm:prSet presAssocID="{81B825ED-C68E-4220-9A5F-FE3E752F4C95}" presName="spacer" presStyleCnt="0"/>
      <dgm:spPr/>
    </dgm:pt>
    <dgm:pt modelId="{041151A9-AE35-40D6-88D1-0EF730BED3AD}" type="pres">
      <dgm:prSet presAssocID="{7256FD11-6485-4073-AA99-0697E91798C4}" presName="parentText" presStyleLbl="node1" presStyleIdx="1" presStyleCnt="5" custScaleY="56448" custLinFactNeighborX="-12855" custLinFactNeighborY="-5134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EED94DA-6745-441A-99B1-055E54A1155A}" type="pres">
      <dgm:prSet presAssocID="{E5C7B35E-EF6A-4982-9C61-E626A733A9A3}" presName="spacer" presStyleCnt="0"/>
      <dgm:spPr/>
    </dgm:pt>
    <dgm:pt modelId="{73A7BECD-F9F4-43E4-8969-6B3BAB67BC43}" type="pres">
      <dgm:prSet presAssocID="{FBF77617-6032-4B27-B093-A49559FEA0A4}" presName="parentText" presStyleLbl="node1" presStyleIdx="2" presStyleCnt="5" custScaleY="75132" custLinFactNeighborX="-12855" custLinFactNeighborY="-1044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11B32DA-4799-43A6-BC23-A42F3341323E}" type="pres">
      <dgm:prSet presAssocID="{EF63D9E8-5E53-43A8-BD59-3952BC93E2BC}" presName="spacer" presStyleCnt="0"/>
      <dgm:spPr/>
    </dgm:pt>
    <dgm:pt modelId="{60DD3483-DB2A-4446-B5B8-71EDA1B1FAB6}" type="pres">
      <dgm:prSet presAssocID="{2750816F-8FD0-4D99-9BAC-426FB4C3F0BD}" presName="parentText" presStyleLbl="node1" presStyleIdx="3" presStyleCnt="5" custScaleY="46773" custLinFactNeighborX="-12855" custLinFactNeighborY="3733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355A51B-90DD-4BE9-B00A-CA92C10DB453}" type="pres">
      <dgm:prSet presAssocID="{BE83B71F-2D26-412A-B0E5-90BEDBD1F4A9}" presName="spacer" presStyleCnt="0"/>
      <dgm:spPr/>
    </dgm:pt>
    <dgm:pt modelId="{EDDB9D6C-7B0A-4921-BE38-823E140FCF2A}" type="pres">
      <dgm:prSet presAssocID="{847E2CC4-FFD4-414D-BD76-BB50337509F2}" presName="parentText" presStyleLbl="node1" presStyleIdx="4" presStyleCnt="5" custScaleY="42410" custLinFactNeighborX="-12855" custLinFactNeighborY="7833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D22A72E-FD22-4C8D-B6F9-3ABF044B9329}" type="presOf" srcId="{7256FD11-6485-4073-AA99-0697E91798C4}" destId="{041151A9-AE35-40D6-88D1-0EF730BED3AD}" srcOrd="0" destOrd="0" presId="urn:microsoft.com/office/officeart/2005/8/layout/vList2"/>
    <dgm:cxn modelId="{32325B2B-6A53-4906-B86A-673D33313C34}" srcId="{21D5BB5F-5892-46B1-8227-286F6C502A7E}" destId="{2750816F-8FD0-4D99-9BAC-426FB4C3F0BD}" srcOrd="3" destOrd="0" parTransId="{9E63A77C-B25C-4AA1-9338-FA6F1A0E2F8C}" sibTransId="{BE83B71F-2D26-412A-B0E5-90BEDBD1F4A9}"/>
    <dgm:cxn modelId="{44447526-7A66-4A6E-8971-B68E60CE2CB0}" srcId="{21D5BB5F-5892-46B1-8227-286F6C502A7E}" destId="{847E2CC4-FFD4-414D-BD76-BB50337509F2}" srcOrd="4" destOrd="0" parTransId="{BE029CAC-B572-466C-9A95-A5F46A9A0865}" sibTransId="{148EC346-4D31-4583-803A-4EE048751B6B}"/>
    <dgm:cxn modelId="{D3B6FAB2-1411-468A-8300-B881849B15CB}" type="presOf" srcId="{21D5BB5F-5892-46B1-8227-286F6C502A7E}" destId="{93A898B1-6336-462A-85AB-68377FADCA7F}" srcOrd="0" destOrd="0" presId="urn:microsoft.com/office/officeart/2005/8/layout/vList2"/>
    <dgm:cxn modelId="{81E4C6E6-647E-4C8C-ADA3-AC343E29188E}" srcId="{21D5BB5F-5892-46B1-8227-286F6C502A7E}" destId="{7256FD11-6485-4073-AA99-0697E91798C4}" srcOrd="1" destOrd="0" parTransId="{29FF892B-C156-42DA-A951-830D596FBA3C}" sibTransId="{E5C7B35E-EF6A-4982-9C61-E626A733A9A3}"/>
    <dgm:cxn modelId="{FFC17F25-93A8-4551-9EA2-08F7EBA594BF}" type="presOf" srcId="{847E2CC4-FFD4-414D-BD76-BB50337509F2}" destId="{EDDB9D6C-7B0A-4921-BE38-823E140FCF2A}" srcOrd="0" destOrd="0" presId="urn:microsoft.com/office/officeart/2005/8/layout/vList2"/>
    <dgm:cxn modelId="{4C914233-B489-4662-9F50-193D8BFC0588}" srcId="{21D5BB5F-5892-46B1-8227-286F6C502A7E}" destId="{FBF77617-6032-4B27-B093-A49559FEA0A4}" srcOrd="2" destOrd="0" parTransId="{7D80CF67-42D3-43E0-B8F9-5C3D22FD310C}" sibTransId="{EF63D9E8-5E53-43A8-BD59-3952BC93E2BC}"/>
    <dgm:cxn modelId="{91BB07C4-A8B0-454D-A5E5-B586FB89FAE5}" type="presOf" srcId="{FBF77617-6032-4B27-B093-A49559FEA0A4}" destId="{73A7BECD-F9F4-43E4-8969-6B3BAB67BC43}" srcOrd="0" destOrd="0" presId="urn:microsoft.com/office/officeart/2005/8/layout/vList2"/>
    <dgm:cxn modelId="{2E1615E1-6C3D-41B8-9783-A706B00A9FC8}" type="presOf" srcId="{8D8F6A5D-3D41-4F6C-A0A1-DA7688C7D0FA}" destId="{29CD8BE8-0852-4380-B10F-BDBDDD163B33}" srcOrd="0" destOrd="0" presId="urn:microsoft.com/office/officeart/2005/8/layout/vList2"/>
    <dgm:cxn modelId="{703FA466-3B23-4B93-A2F6-5C3BDDEB162E}" type="presOf" srcId="{2750816F-8FD0-4D99-9BAC-426FB4C3F0BD}" destId="{60DD3483-DB2A-4446-B5B8-71EDA1B1FAB6}" srcOrd="0" destOrd="0" presId="urn:microsoft.com/office/officeart/2005/8/layout/vList2"/>
    <dgm:cxn modelId="{64F90744-346E-44B7-A7B1-4835D09EEE59}" srcId="{21D5BB5F-5892-46B1-8227-286F6C502A7E}" destId="{8D8F6A5D-3D41-4F6C-A0A1-DA7688C7D0FA}" srcOrd="0" destOrd="0" parTransId="{23311001-42F3-425F-87A1-57A2C5D0493E}" sibTransId="{81B825ED-C68E-4220-9A5F-FE3E752F4C95}"/>
    <dgm:cxn modelId="{2CA174A1-BE1B-4273-A229-18C3B1151B57}" type="presParOf" srcId="{93A898B1-6336-462A-85AB-68377FADCA7F}" destId="{29CD8BE8-0852-4380-B10F-BDBDDD163B33}" srcOrd="0" destOrd="0" presId="urn:microsoft.com/office/officeart/2005/8/layout/vList2"/>
    <dgm:cxn modelId="{10B41729-5C14-454B-9BFA-682CFCF7A095}" type="presParOf" srcId="{93A898B1-6336-462A-85AB-68377FADCA7F}" destId="{989544AE-3E19-41C4-B676-69BFE7EF7E63}" srcOrd="1" destOrd="0" presId="urn:microsoft.com/office/officeart/2005/8/layout/vList2"/>
    <dgm:cxn modelId="{6D0A215E-2DF2-4BD9-8CBA-672E7A4D36F9}" type="presParOf" srcId="{93A898B1-6336-462A-85AB-68377FADCA7F}" destId="{041151A9-AE35-40D6-88D1-0EF730BED3AD}" srcOrd="2" destOrd="0" presId="urn:microsoft.com/office/officeart/2005/8/layout/vList2"/>
    <dgm:cxn modelId="{F63FA04B-F1E1-4BEA-A2AE-BB90BD285478}" type="presParOf" srcId="{93A898B1-6336-462A-85AB-68377FADCA7F}" destId="{AEED94DA-6745-441A-99B1-055E54A1155A}" srcOrd="3" destOrd="0" presId="urn:microsoft.com/office/officeart/2005/8/layout/vList2"/>
    <dgm:cxn modelId="{9B6D8904-2B83-4645-936B-9B98C4CAA9EC}" type="presParOf" srcId="{93A898B1-6336-462A-85AB-68377FADCA7F}" destId="{73A7BECD-F9F4-43E4-8969-6B3BAB67BC43}" srcOrd="4" destOrd="0" presId="urn:microsoft.com/office/officeart/2005/8/layout/vList2"/>
    <dgm:cxn modelId="{6E3E2F16-476F-4F9F-B13F-0917DB492C75}" type="presParOf" srcId="{93A898B1-6336-462A-85AB-68377FADCA7F}" destId="{711B32DA-4799-43A6-BC23-A42F3341323E}" srcOrd="5" destOrd="0" presId="urn:microsoft.com/office/officeart/2005/8/layout/vList2"/>
    <dgm:cxn modelId="{3775BE2E-04FE-4BD4-9D24-2E9DE6BFDAEA}" type="presParOf" srcId="{93A898B1-6336-462A-85AB-68377FADCA7F}" destId="{60DD3483-DB2A-4446-B5B8-71EDA1B1FAB6}" srcOrd="6" destOrd="0" presId="urn:microsoft.com/office/officeart/2005/8/layout/vList2"/>
    <dgm:cxn modelId="{9C659E20-052A-4735-9982-5B1271434699}" type="presParOf" srcId="{93A898B1-6336-462A-85AB-68377FADCA7F}" destId="{D355A51B-90DD-4BE9-B00A-CA92C10DB453}" srcOrd="7" destOrd="0" presId="urn:microsoft.com/office/officeart/2005/8/layout/vList2"/>
    <dgm:cxn modelId="{250D98DF-92BB-4EF0-8C53-5EC4BA41A686}" type="presParOf" srcId="{93A898B1-6336-462A-85AB-68377FADCA7F}" destId="{EDDB9D6C-7B0A-4921-BE38-823E140FCF2A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71C9E0D-D7AE-4B58-81CA-3699C5D0A711}" type="doc">
      <dgm:prSet loTypeId="urn:microsoft.com/office/officeart/2005/8/layout/default" loCatId="list" qsTypeId="urn:microsoft.com/office/officeart/2005/8/quickstyle/simple5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58FEBF6B-8588-4AE8-8F75-99E820DC076E}">
      <dgm:prSet phldrT="[Text]" custT="1"/>
      <dgm:spPr>
        <a:scene3d>
          <a:camera prst="orthographicFront" fov="0">
            <a:rot lat="0" lon="0" rev="0"/>
          </a:camera>
          <a:lightRig rig="threePt" dir="t">
            <a:rot lat="0" lon="0" rev="1800000"/>
          </a:lightRig>
        </a:scene3d>
        <a:sp3d prstMaterial="matte">
          <a:bevelT h="20000" prst="relaxedInset"/>
        </a:sp3d>
      </dgm:spPr>
      <dgm:t>
        <a:bodyPr/>
        <a:lstStyle/>
        <a:p>
          <a:r>
            <a:rPr lang="en-US" sz="2200" dirty="0" smtClean="0"/>
            <a:t>On demand</a:t>
          </a:r>
          <a:endParaRPr lang="en-US" sz="2200" dirty="0"/>
        </a:p>
      </dgm:t>
    </dgm:pt>
    <dgm:pt modelId="{B14CC760-98AD-4CA7-B4B7-3E00F18D7D10}" type="parTrans" cxnId="{ECD5ED8B-0C70-4D0D-B100-E36481B5C1BB}">
      <dgm:prSet/>
      <dgm:spPr/>
      <dgm:t>
        <a:bodyPr/>
        <a:lstStyle/>
        <a:p>
          <a:endParaRPr lang="en-US" sz="2200"/>
        </a:p>
      </dgm:t>
    </dgm:pt>
    <dgm:pt modelId="{32CE74FD-9204-42AB-BC4A-3C254A282870}" type="sibTrans" cxnId="{ECD5ED8B-0C70-4D0D-B100-E36481B5C1BB}">
      <dgm:prSet/>
      <dgm:spPr/>
      <dgm:t>
        <a:bodyPr/>
        <a:lstStyle/>
        <a:p>
          <a:endParaRPr lang="en-US" sz="2200"/>
        </a:p>
      </dgm:t>
    </dgm:pt>
    <dgm:pt modelId="{63A094F9-B76E-48D5-8478-3F5C6FFFBC98}">
      <dgm:prSet phldrT="[Text]" custT="1"/>
      <dgm:spPr>
        <a:scene3d>
          <a:camera prst="orthographicFront" fov="0">
            <a:rot lat="0" lon="0" rev="0"/>
          </a:camera>
          <a:lightRig rig="threePt" dir="t">
            <a:rot lat="0" lon="0" rev="1800000"/>
          </a:lightRig>
        </a:scene3d>
        <a:sp3d prstMaterial="matte">
          <a:bevelT h="20000" prst="relaxedInset"/>
        </a:sp3d>
      </dgm:spPr>
      <dgm:t>
        <a:bodyPr/>
        <a:lstStyle/>
        <a:p>
          <a:r>
            <a:rPr lang="en-US" sz="2200" dirty="0" smtClean="0"/>
            <a:t>Self-serviced &amp; personalized</a:t>
          </a:r>
          <a:endParaRPr lang="en-US" sz="2200" dirty="0"/>
        </a:p>
      </dgm:t>
    </dgm:pt>
    <dgm:pt modelId="{F9992B6A-3DA3-4789-917B-1C6F8CC2C1E5}" type="parTrans" cxnId="{82889E85-1C8B-44E9-85D8-0863357DAB9B}">
      <dgm:prSet/>
      <dgm:spPr/>
      <dgm:t>
        <a:bodyPr/>
        <a:lstStyle/>
        <a:p>
          <a:endParaRPr lang="en-US" sz="2200"/>
        </a:p>
      </dgm:t>
    </dgm:pt>
    <dgm:pt modelId="{BFD77697-1C0F-4B30-91B2-6EE6C21C3ECC}" type="sibTrans" cxnId="{82889E85-1C8B-44E9-85D8-0863357DAB9B}">
      <dgm:prSet/>
      <dgm:spPr/>
      <dgm:t>
        <a:bodyPr/>
        <a:lstStyle/>
        <a:p>
          <a:endParaRPr lang="en-US" sz="2200"/>
        </a:p>
      </dgm:t>
    </dgm:pt>
    <dgm:pt modelId="{6C69B14D-A97C-40C1-89CB-D31AF5495657}">
      <dgm:prSet phldrT="[Text]" custT="1"/>
      <dgm:spPr>
        <a:scene3d>
          <a:camera prst="orthographicFront" fov="0">
            <a:rot lat="0" lon="0" rev="0"/>
          </a:camera>
          <a:lightRig rig="threePt" dir="t">
            <a:rot lat="0" lon="0" rev="1800000"/>
          </a:lightRig>
        </a:scene3d>
        <a:sp3d prstMaterial="matte">
          <a:bevelT h="20000" prst="relaxedInset"/>
        </a:sp3d>
      </dgm:spPr>
      <dgm:t>
        <a:bodyPr/>
        <a:lstStyle/>
        <a:p>
          <a:pPr algn="l"/>
          <a:r>
            <a:rPr lang="en-US" sz="2200" dirty="0" smtClean="0"/>
            <a:t>Multi-tenancy (better resource consumption)</a:t>
          </a:r>
          <a:endParaRPr lang="en-US" sz="2200" dirty="0"/>
        </a:p>
      </dgm:t>
    </dgm:pt>
    <dgm:pt modelId="{412182D8-9DB6-44DC-B558-C2288B83CA1D}" type="parTrans" cxnId="{4BF64528-EC04-41CD-A29B-62BEB1F65F8E}">
      <dgm:prSet/>
      <dgm:spPr/>
      <dgm:t>
        <a:bodyPr/>
        <a:lstStyle/>
        <a:p>
          <a:endParaRPr lang="en-US" sz="2200"/>
        </a:p>
      </dgm:t>
    </dgm:pt>
    <dgm:pt modelId="{6B73D208-56B8-41EE-ABA0-D35809A7A9DB}" type="sibTrans" cxnId="{4BF64528-EC04-41CD-A29B-62BEB1F65F8E}">
      <dgm:prSet/>
      <dgm:spPr/>
      <dgm:t>
        <a:bodyPr/>
        <a:lstStyle/>
        <a:p>
          <a:endParaRPr lang="en-US" sz="2200"/>
        </a:p>
      </dgm:t>
    </dgm:pt>
    <dgm:pt modelId="{8EDB5801-599A-45DE-94D4-A3F1530301E1}">
      <dgm:prSet phldrT="[Text]" custT="1"/>
      <dgm:spPr>
        <a:scene3d>
          <a:camera prst="orthographicFront" fov="0">
            <a:rot lat="0" lon="0" rev="0"/>
          </a:camera>
          <a:lightRig rig="threePt" dir="t">
            <a:rot lat="0" lon="0" rev="1800000"/>
          </a:lightRig>
        </a:scene3d>
        <a:sp3d prstMaterial="matte">
          <a:bevelT h="20000" prst="relaxedInset"/>
        </a:sp3d>
      </dgm:spPr>
      <dgm:t>
        <a:bodyPr/>
        <a:lstStyle/>
        <a:p>
          <a:r>
            <a:rPr lang="en-US" sz="2200" dirty="0" smtClean="0"/>
            <a:t>Rapid scaling </a:t>
          </a:r>
          <a:endParaRPr lang="en-US" sz="2200" dirty="0"/>
        </a:p>
      </dgm:t>
    </dgm:pt>
    <dgm:pt modelId="{058E2593-ABB4-4E34-B21A-048B6F9F0F2A}" type="parTrans" cxnId="{1A2BA836-536A-43BC-B904-35681D444D9D}">
      <dgm:prSet/>
      <dgm:spPr/>
      <dgm:t>
        <a:bodyPr/>
        <a:lstStyle/>
        <a:p>
          <a:endParaRPr lang="en-US" sz="2200"/>
        </a:p>
      </dgm:t>
    </dgm:pt>
    <dgm:pt modelId="{6920BC6E-33F2-483F-9245-C839679DFA97}" type="sibTrans" cxnId="{1A2BA836-536A-43BC-B904-35681D444D9D}">
      <dgm:prSet/>
      <dgm:spPr/>
      <dgm:t>
        <a:bodyPr/>
        <a:lstStyle/>
        <a:p>
          <a:endParaRPr lang="en-US" sz="2200"/>
        </a:p>
      </dgm:t>
    </dgm:pt>
    <dgm:pt modelId="{7ECA8B65-7822-46E2-A2DB-B74EB4970644}">
      <dgm:prSet phldrT="[Text]" custT="1"/>
      <dgm:spPr>
        <a:scene3d>
          <a:camera prst="orthographicFront" fov="0">
            <a:rot lat="0" lon="0" rev="0"/>
          </a:camera>
          <a:lightRig rig="threePt" dir="t">
            <a:rot lat="0" lon="0" rev="1800000"/>
          </a:lightRig>
        </a:scene3d>
        <a:sp3d prstMaterial="matte">
          <a:bevelT h="20000" prst="relaxedInset"/>
        </a:sp3d>
      </dgm:spPr>
      <dgm:t>
        <a:bodyPr/>
        <a:lstStyle/>
        <a:p>
          <a:r>
            <a:rPr lang="en-US" sz="2200" dirty="0" smtClean="0"/>
            <a:t>Affordable mode of payment</a:t>
          </a:r>
          <a:endParaRPr lang="en-US" sz="2200" dirty="0"/>
        </a:p>
      </dgm:t>
    </dgm:pt>
    <dgm:pt modelId="{9D5FF182-8FFE-45AF-9D81-65E2AE618275}" type="parTrans" cxnId="{278CADA8-B972-4479-A268-B213EB6B13FB}">
      <dgm:prSet/>
      <dgm:spPr/>
      <dgm:t>
        <a:bodyPr/>
        <a:lstStyle/>
        <a:p>
          <a:endParaRPr lang="en-US" sz="2200"/>
        </a:p>
      </dgm:t>
    </dgm:pt>
    <dgm:pt modelId="{8750C1D1-2C22-476B-A948-F8A358587B0A}" type="sibTrans" cxnId="{278CADA8-B972-4479-A268-B213EB6B13FB}">
      <dgm:prSet/>
      <dgm:spPr/>
      <dgm:t>
        <a:bodyPr/>
        <a:lstStyle/>
        <a:p>
          <a:endParaRPr lang="en-US" sz="2200"/>
        </a:p>
      </dgm:t>
    </dgm:pt>
    <dgm:pt modelId="{8598E42A-2B4E-460C-8AE2-FCA0D16D21AC}">
      <dgm:prSet phldrT="[Text]" custT="1"/>
      <dgm:spPr>
        <a:scene3d>
          <a:camera prst="orthographicFront" fov="0">
            <a:rot lat="0" lon="0" rev="0"/>
          </a:camera>
          <a:lightRig rig="threePt" dir="t">
            <a:rot lat="0" lon="0" rev="1800000"/>
          </a:lightRig>
        </a:scene3d>
        <a:sp3d prstMaterial="matte">
          <a:bevelT h="20000" prst="relaxedInset"/>
        </a:sp3d>
      </dgm:spPr>
      <dgm:t>
        <a:bodyPr/>
        <a:lstStyle/>
        <a:p>
          <a:pPr algn="l"/>
          <a:r>
            <a:rPr lang="en-US" sz="2200" dirty="0" smtClean="0"/>
            <a:t>Always available through any client platform</a:t>
          </a:r>
          <a:endParaRPr lang="en-US" sz="2200" dirty="0"/>
        </a:p>
      </dgm:t>
    </dgm:pt>
    <dgm:pt modelId="{D3E4B9BB-F515-4396-94C4-C6F4160AE32F}" type="parTrans" cxnId="{D48D0DA6-4B88-42B9-8B05-C1E0C33DD40C}">
      <dgm:prSet/>
      <dgm:spPr/>
      <dgm:t>
        <a:bodyPr/>
        <a:lstStyle/>
        <a:p>
          <a:endParaRPr lang="en-US" sz="2200"/>
        </a:p>
      </dgm:t>
    </dgm:pt>
    <dgm:pt modelId="{5E18658D-CC4E-412A-9999-A13BC7B0F6D6}" type="sibTrans" cxnId="{D48D0DA6-4B88-42B9-8B05-C1E0C33DD40C}">
      <dgm:prSet/>
      <dgm:spPr/>
      <dgm:t>
        <a:bodyPr/>
        <a:lstStyle/>
        <a:p>
          <a:endParaRPr lang="en-US" sz="2200"/>
        </a:p>
      </dgm:t>
    </dgm:pt>
    <dgm:pt modelId="{412791F1-E213-4E98-AC2A-78DE686EBF99}">
      <dgm:prSet phldrT="[Text]" custT="1"/>
      <dgm:spPr>
        <a:scene3d>
          <a:camera prst="orthographicFront" fov="0">
            <a:rot lat="0" lon="0" rev="0"/>
          </a:camera>
          <a:lightRig rig="threePt" dir="t">
            <a:rot lat="0" lon="0" rev="1800000"/>
          </a:lightRig>
        </a:scene3d>
        <a:sp3d prstMaterial="matte">
          <a:bevelT h="20000" prst="relaxedInset"/>
        </a:sp3d>
      </dgm:spPr>
      <dgm:t>
        <a:bodyPr/>
        <a:lstStyle/>
        <a:p>
          <a:r>
            <a:rPr lang="en-US" sz="2200" dirty="0" smtClean="0"/>
            <a:t>Continuous adaptation</a:t>
          </a:r>
          <a:endParaRPr lang="en-US" sz="2200" dirty="0"/>
        </a:p>
      </dgm:t>
    </dgm:pt>
    <dgm:pt modelId="{258FD22E-5BC8-4ED3-AF0E-137B7AD6892C}" type="parTrans" cxnId="{FC037620-C556-44FE-A4A9-5526427AC09D}">
      <dgm:prSet/>
      <dgm:spPr/>
      <dgm:t>
        <a:bodyPr/>
        <a:lstStyle/>
        <a:p>
          <a:endParaRPr lang="en-US" sz="2200"/>
        </a:p>
      </dgm:t>
    </dgm:pt>
    <dgm:pt modelId="{73B417E4-2C8C-4067-85EC-1502A6A6296C}" type="sibTrans" cxnId="{FC037620-C556-44FE-A4A9-5526427AC09D}">
      <dgm:prSet/>
      <dgm:spPr/>
      <dgm:t>
        <a:bodyPr/>
        <a:lstStyle/>
        <a:p>
          <a:endParaRPr lang="en-US" sz="2200"/>
        </a:p>
      </dgm:t>
    </dgm:pt>
    <dgm:pt modelId="{69FC3F6E-D32C-4F01-9ACB-B922C1323C4D}">
      <dgm:prSet phldrT="[Text]" custT="1"/>
      <dgm:spPr>
        <a:scene3d>
          <a:camera prst="orthographicFront" fov="0">
            <a:rot lat="0" lon="0" rev="0"/>
          </a:camera>
          <a:lightRig rig="threePt" dir="t">
            <a:rot lat="0" lon="0" rev="1800000"/>
          </a:lightRig>
        </a:scene3d>
        <a:sp3d prstMaterial="matte">
          <a:bevelT h="20000" prst="relaxedInset"/>
        </a:sp3d>
      </dgm:spPr>
      <dgm:t>
        <a:bodyPr/>
        <a:lstStyle/>
        <a:p>
          <a:pPr algn="l"/>
          <a:r>
            <a:rPr lang="en-US" sz="2200" dirty="0" smtClean="0"/>
            <a:t>Ensure accountability and trust</a:t>
          </a:r>
          <a:endParaRPr lang="en-US" sz="2200" dirty="0"/>
        </a:p>
      </dgm:t>
    </dgm:pt>
    <dgm:pt modelId="{7B34221E-9699-4641-8C22-CEBCD6D77747}" type="parTrans" cxnId="{C490A735-5564-42AD-9446-53337C04B8D0}">
      <dgm:prSet/>
      <dgm:spPr/>
      <dgm:t>
        <a:bodyPr/>
        <a:lstStyle/>
        <a:p>
          <a:endParaRPr lang="en-US" sz="2200"/>
        </a:p>
      </dgm:t>
    </dgm:pt>
    <dgm:pt modelId="{3BBD76FA-3F2C-4FEF-BD40-60AFC6329437}" type="sibTrans" cxnId="{C490A735-5564-42AD-9446-53337C04B8D0}">
      <dgm:prSet/>
      <dgm:spPr/>
      <dgm:t>
        <a:bodyPr/>
        <a:lstStyle/>
        <a:p>
          <a:endParaRPr lang="en-US" sz="2200"/>
        </a:p>
      </dgm:t>
    </dgm:pt>
    <dgm:pt modelId="{C1EEA515-42C8-4796-9AF6-B50E99597A3F}" type="pres">
      <dgm:prSet presAssocID="{371C9E0D-D7AE-4B58-81CA-3699C5D0A711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019D3C7-2366-4B52-8508-FB06F86CA4EA}" type="pres">
      <dgm:prSet presAssocID="{58FEBF6B-8588-4AE8-8F75-99E820DC076E}" presName="node" presStyleLbl="node1" presStyleIdx="0" presStyleCnt="8" custScaleY="52032" custLinFactNeighborX="-5375" custLinFactNeighborY="-246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E91090-1072-434B-BB06-AD393A372B34}" type="pres">
      <dgm:prSet presAssocID="{32CE74FD-9204-42AB-BC4A-3C254A282870}" presName="sibTrans" presStyleCnt="0"/>
      <dgm:spPr>
        <a:scene3d>
          <a:camera prst="orthographicFront"/>
          <a:lightRig rig="threePt" dir="t"/>
        </a:scene3d>
        <a:sp3d>
          <a:bevelT prst="relaxedInset"/>
        </a:sp3d>
      </dgm:spPr>
    </dgm:pt>
    <dgm:pt modelId="{C52128F8-16CF-4B57-9E4A-071FBB72F805}" type="pres">
      <dgm:prSet presAssocID="{63A094F9-B76E-48D5-8478-3F5C6FFFBC98}" presName="node" presStyleLbl="node1" presStyleIdx="1" presStyleCnt="8" custScaleX="200728" custScaleY="59579" custLinFactX="-18479" custLinFactNeighborX="-100000" custLinFactNeighborY="702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A594299-7B38-4151-8507-C5FF596CA8AA}" type="pres">
      <dgm:prSet presAssocID="{BFD77697-1C0F-4B30-91B2-6EE6C21C3ECC}" presName="sibTrans" presStyleCnt="0"/>
      <dgm:spPr>
        <a:scene3d>
          <a:camera prst="orthographicFront"/>
          <a:lightRig rig="threePt" dir="t"/>
        </a:scene3d>
        <a:sp3d>
          <a:bevelT prst="relaxedInset"/>
        </a:sp3d>
      </dgm:spPr>
    </dgm:pt>
    <dgm:pt modelId="{001011BA-10D1-42F0-B6AE-D9F11D41E43E}" type="pres">
      <dgm:prSet presAssocID="{8598E42A-2B4E-460C-8AE2-FCA0D16D21AC}" presName="node" presStyleLbl="node1" presStyleIdx="2" presStyleCnt="8" custScaleX="263480" custScaleY="58192" custLinFactNeighborX="-32688" custLinFactNeighborY="6656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5321F0D-3353-4831-A368-344FA03F0652}" type="pres">
      <dgm:prSet presAssocID="{5E18658D-CC4E-412A-9999-A13BC7B0F6D6}" presName="sibTrans" presStyleCnt="0"/>
      <dgm:spPr>
        <a:scene3d>
          <a:camera prst="orthographicFront"/>
          <a:lightRig rig="threePt" dir="t"/>
        </a:scene3d>
        <a:sp3d>
          <a:bevelT prst="relaxedInset"/>
        </a:sp3d>
      </dgm:spPr>
    </dgm:pt>
    <dgm:pt modelId="{996DBC21-45D1-41F1-BCAD-BBA10BD022FF}" type="pres">
      <dgm:prSet presAssocID="{6C69B14D-A97C-40C1-89CB-D31AF5495657}" presName="node" presStyleLbl="node1" presStyleIdx="3" presStyleCnt="8" custScaleX="177737" custScaleY="72950" custLinFactY="35317" custLinFactNeighborX="-15544" custLinFactNeighborY="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6783F34-927D-4A1F-AE4A-D21A655EC319}" type="pres">
      <dgm:prSet presAssocID="{6B73D208-56B8-41EE-ABA0-D35809A7A9DB}" presName="sibTrans" presStyleCnt="0"/>
      <dgm:spPr>
        <a:scene3d>
          <a:camera prst="orthographicFront"/>
          <a:lightRig rig="threePt" dir="t"/>
        </a:scene3d>
        <a:sp3d>
          <a:bevelT prst="relaxedInset"/>
        </a:sp3d>
      </dgm:spPr>
    </dgm:pt>
    <dgm:pt modelId="{D4BEF1DF-2219-491C-94BC-4DFB38527196}" type="pres">
      <dgm:prSet presAssocID="{8EDB5801-599A-45DE-94D4-A3F1530301E1}" presName="node" presStyleLbl="node1" presStyleIdx="4" presStyleCnt="8" custScaleX="110000" custScaleY="55405" custLinFactX="-100000" custLinFactNeighborX="-103281" custLinFactNeighborY="5781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E77136D-343D-4732-8B24-F1906B5A5CAE}" type="pres">
      <dgm:prSet presAssocID="{6920BC6E-33F2-483F-9245-C839679DFA97}" presName="sibTrans" presStyleCnt="0"/>
      <dgm:spPr>
        <a:scene3d>
          <a:camera prst="orthographicFront"/>
          <a:lightRig rig="threePt" dir="t"/>
        </a:scene3d>
        <a:sp3d>
          <a:bevelT prst="relaxedInset"/>
        </a:sp3d>
      </dgm:spPr>
    </dgm:pt>
    <dgm:pt modelId="{DD72DC9A-5EB5-4EBE-B821-7DBF5D6E7D7C}" type="pres">
      <dgm:prSet presAssocID="{7ECA8B65-7822-46E2-A2DB-B74EB4970644}" presName="node" presStyleLbl="node1" presStyleIdx="5" presStyleCnt="8" custScaleX="216912" custScaleY="61429" custLinFactY="42397" custLinFactNeighborX="-8087" custLinFactNeighborY="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2420652-8EF5-4EE3-B7DD-8613AD994015}" type="pres">
      <dgm:prSet presAssocID="{8750C1D1-2C22-476B-A948-F8A358587B0A}" presName="sibTrans" presStyleCnt="0"/>
      <dgm:spPr>
        <a:scene3d>
          <a:camera prst="orthographicFront"/>
          <a:lightRig rig="threePt" dir="t"/>
        </a:scene3d>
        <a:sp3d>
          <a:bevelT prst="relaxedInset"/>
        </a:sp3d>
      </dgm:spPr>
    </dgm:pt>
    <dgm:pt modelId="{A490C69D-0E0E-4E98-B68A-97BD1008C620}" type="pres">
      <dgm:prSet presAssocID="{412791F1-E213-4E98-AC2A-78DE686EBF99}" presName="node" presStyleLbl="node1" presStyleIdx="6" presStyleCnt="8" custScaleY="71237" custLinFactY="-100000" custLinFactNeighborX="-4860" custLinFactNeighborY="-14460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3D2F336-CB62-4799-A375-15635A22BED8}" type="pres">
      <dgm:prSet presAssocID="{73B417E4-2C8C-4067-85EC-1502A6A6296C}" presName="sibTrans" presStyleCnt="0"/>
      <dgm:spPr>
        <a:scene3d>
          <a:camera prst="orthographicFront"/>
          <a:lightRig rig="threePt" dir="t"/>
        </a:scene3d>
        <a:sp3d>
          <a:bevelT prst="relaxedInset"/>
        </a:sp3d>
      </dgm:spPr>
    </dgm:pt>
    <dgm:pt modelId="{DCA87870-BC68-4E70-A86B-BB404105586E}" type="pres">
      <dgm:prSet presAssocID="{69FC3F6E-D32C-4F01-9ACB-B922C1323C4D}" presName="node" presStyleLbl="node1" presStyleIdx="7" presStyleCnt="8" custScaleX="108572" custLinFactX="1318" custLinFactNeighborX="100000" custLinFactNeighborY="-6287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EDFE304-5E7E-43EF-8E96-8154E308E28F}" type="presOf" srcId="{8598E42A-2B4E-460C-8AE2-FCA0D16D21AC}" destId="{001011BA-10D1-42F0-B6AE-D9F11D41E43E}" srcOrd="0" destOrd="0" presId="urn:microsoft.com/office/officeart/2005/8/layout/default"/>
    <dgm:cxn modelId="{1F30CD51-B463-4A91-9B1A-0467F3AB07A1}" type="presOf" srcId="{8EDB5801-599A-45DE-94D4-A3F1530301E1}" destId="{D4BEF1DF-2219-491C-94BC-4DFB38527196}" srcOrd="0" destOrd="0" presId="urn:microsoft.com/office/officeart/2005/8/layout/default"/>
    <dgm:cxn modelId="{A24FEB4C-1AFE-4A07-8E21-A99A9D68D47D}" type="presOf" srcId="{69FC3F6E-D32C-4F01-9ACB-B922C1323C4D}" destId="{DCA87870-BC68-4E70-A86B-BB404105586E}" srcOrd="0" destOrd="0" presId="urn:microsoft.com/office/officeart/2005/8/layout/default"/>
    <dgm:cxn modelId="{ECD5ED8B-0C70-4D0D-B100-E36481B5C1BB}" srcId="{371C9E0D-D7AE-4B58-81CA-3699C5D0A711}" destId="{58FEBF6B-8588-4AE8-8F75-99E820DC076E}" srcOrd="0" destOrd="0" parTransId="{B14CC760-98AD-4CA7-B4B7-3E00F18D7D10}" sibTransId="{32CE74FD-9204-42AB-BC4A-3C254A282870}"/>
    <dgm:cxn modelId="{91F29A4B-5D45-49FE-9ABC-784FFA859828}" type="presOf" srcId="{412791F1-E213-4E98-AC2A-78DE686EBF99}" destId="{A490C69D-0E0E-4E98-B68A-97BD1008C620}" srcOrd="0" destOrd="0" presId="urn:microsoft.com/office/officeart/2005/8/layout/default"/>
    <dgm:cxn modelId="{82889E85-1C8B-44E9-85D8-0863357DAB9B}" srcId="{371C9E0D-D7AE-4B58-81CA-3699C5D0A711}" destId="{63A094F9-B76E-48D5-8478-3F5C6FFFBC98}" srcOrd="1" destOrd="0" parTransId="{F9992B6A-3DA3-4789-917B-1C6F8CC2C1E5}" sibTransId="{BFD77697-1C0F-4B30-91B2-6EE6C21C3ECC}"/>
    <dgm:cxn modelId="{A4883293-1E75-4715-B52E-EB7FB774B0AF}" type="presOf" srcId="{371C9E0D-D7AE-4B58-81CA-3699C5D0A711}" destId="{C1EEA515-42C8-4796-9AF6-B50E99597A3F}" srcOrd="0" destOrd="0" presId="urn:microsoft.com/office/officeart/2005/8/layout/default"/>
    <dgm:cxn modelId="{B40B5F05-B42E-49B9-BE8D-419FE8603EEE}" type="presOf" srcId="{63A094F9-B76E-48D5-8478-3F5C6FFFBC98}" destId="{C52128F8-16CF-4B57-9E4A-071FBB72F805}" srcOrd="0" destOrd="0" presId="urn:microsoft.com/office/officeart/2005/8/layout/default"/>
    <dgm:cxn modelId="{C490A735-5564-42AD-9446-53337C04B8D0}" srcId="{371C9E0D-D7AE-4B58-81CA-3699C5D0A711}" destId="{69FC3F6E-D32C-4F01-9ACB-B922C1323C4D}" srcOrd="7" destOrd="0" parTransId="{7B34221E-9699-4641-8C22-CEBCD6D77747}" sibTransId="{3BBD76FA-3F2C-4FEF-BD40-60AFC6329437}"/>
    <dgm:cxn modelId="{D77F7F6D-1644-4C81-BDFB-E41305E0EE3F}" type="presOf" srcId="{6C69B14D-A97C-40C1-89CB-D31AF5495657}" destId="{996DBC21-45D1-41F1-BCAD-BBA10BD022FF}" srcOrd="0" destOrd="0" presId="urn:microsoft.com/office/officeart/2005/8/layout/default"/>
    <dgm:cxn modelId="{B272A36D-46F1-456C-AC5B-F5DA83B3AAAA}" type="presOf" srcId="{58FEBF6B-8588-4AE8-8F75-99E820DC076E}" destId="{0019D3C7-2366-4B52-8508-FB06F86CA4EA}" srcOrd="0" destOrd="0" presId="urn:microsoft.com/office/officeart/2005/8/layout/default"/>
    <dgm:cxn modelId="{1A2BA836-536A-43BC-B904-35681D444D9D}" srcId="{371C9E0D-D7AE-4B58-81CA-3699C5D0A711}" destId="{8EDB5801-599A-45DE-94D4-A3F1530301E1}" srcOrd="4" destOrd="0" parTransId="{058E2593-ABB4-4E34-B21A-048B6F9F0F2A}" sibTransId="{6920BC6E-33F2-483F-9245-C839679DFA97}"/>
    <dgm:cxn modelId="{278CADA8-B972-4479-A268-B213EB6B13FB}" srcId="{371C9E0D-D7AE-4B58-81CA-3699C5D0A711}" destId="{7ECA8B65-7822-46E2-A2DB-B74EB4970644}" srcOrd="5" destOrd="0" parTransId="{9D5FF182-8FFE-45AF-9D81-65E2AE618275}" sibTransId="{8750C1D1-2C22-476B-A948-F8A358587B0A}"/>
    <dgm:cxn modelId="{FC037620-C556-44FE-A4A9-5526427AC09D}" srcId="{371C9E0D-D7AE-4B58-81CA-3699C5D0A711}" destId="{412791F1-E213-4E98-AC2A-78DE686EBF99}" srcOrd="6" destOrd="0" parTransId="{258FD22E-5BC8-4ED3-AF0E-137B7AD6892C}" sibTransId="{73B417E4-2C8C-4067-85EC-1502A6A6296C}"/>
    <dgm:cxn modelId="{4BF64528-EC04-41CD-A29B-62BEB1F65F8E}" srcId="{371C9E0D-D7AE-4B58-81CA-3699C5D0A711}" destId="{6C69B14D-A97C-40C1-89CB-D31AF5495657}" srcOrd="3" destOrd="0" parTransId="{412182D8-9DB6-44DC-B558-C2288B83CA1D}" sibTransId="{6B73D208-56B8-41EE-ABA0-D35809A7A9DB}"/>
    <dgm:cxn modelId="{DAB99B37-4B4B-4B31-AA25-2213FB55BA10}" type="presOf" srcId="{7ECA8B65-7822-46E2-A2DB-B74EB4970644}" destId="{DD72DC9A-5EB5-4EBE-B821-7DBF5D6E7D7C}" srcOrd="0" destOrd="0" presId="urn:microsoft.com/office/officeart/2005/8/layout/default"/>
    <dgm:cxn modelId="{D48D0DA6-4B88-42B9-8B05-C1E0C33DD40C}" srcId="{371C9E0D-D7AE-4B58-81CA-3699C5D0A711}" destId="{8598E42A-2B4E-460C-8AE2-FCA0D16D21AC}" srcOrd="2" destOrd="0" parTransId="{D3E4B9BB-F515-4396-94C4-C6F4160AE32F}" sibTransId="{5E18658D-CC4E-412A-9999-A13BC7B0F6D6}"/>
    <dgm:cxn modelId="{192BB0AF-E71F-4655-A966-CA80D0A6A813}" type="presParOf" srcId="{C1EEA515-42C8-4796-9AF6-B50E99597A3F}" destId="{0019D3C7-2366-4B52-8508-FB06F86CA4EA}" srcOrd="0" destOrd="0" presId="urn:microsoft.com/office/officeart/2005/8/layout/default"/>
    <dgm:cxn modelId="{E5C1484D-7F7B-4FED-891D-32E574C45905}" type="presParOf" srcId="{C1EEA515-42C8-4796-9AF6-B50E99597A3F}" destId="{31E91090-1072-434B-BB06-AD393A372B34}" srcOrd="1" destOrd="0" presId="urn:microsoft.com/office/officeart/2005/8/layout/default"/>
    <dgm:cxn modelId="{160A2E6C-B243-4E31-8AFC-1CBCFE2B4626}" type="presParOf" srcId="{C1EEA515-42C8-4796-9AF6-B50E99597A3F}" destId="{C52128F8-16CF-4B57-9E4A-071FBB72F805}" srcOrd="2" destOrd="0" presId="urn:microsoft.com/office/officeart/2005/8/layout/default"/>
    <dgm:cxn modelId="{8B37C0D5-3272-4D9B-81D9-B021E7FA18E1}" type="presParOf" srcId="{C1EEA515-42C8-4796-9AF6-B50E99597A3F}" destId="{CA594299-7B38-4151-8507-C5FF596CA8AA}" srcOrd="3" destOrd="0" presId="urn:microsoft.com/office/officeart/2005/8/layout/default"/>
    <dgm:cxn modelId="{3817B763-CFE5-4658-A1AF-1B1891B56725}" type="presParOf" srcId="{C1EEA515-42C8-4796-9AF6-B50E99597A3F}" destId="{001011BA-10D1-42F0-B6AE-D9F11D41E43E}" srcOrd="4" destOrd="0" presId="urn:microsoft.com/office/officeart/2005/8/layout/default"/>
    <dgm:cxn modelId="{2BA68F2B-39E9-4452-95B5-84AFE1DA7CF3}" type="presParOf" srcId="{C1EEA515-42C8-4796-9AF6-B50E99597A3F}" destId="{15321F0D-3353-4831-A368-344FA03F0652}" srcOrd="5" destOrd="0" presId="urn:microsoft.com/office/officeart/2005/8/layout/default"/>
    <dgm:cxn modelId="{9DE228E3-F54B-4F6E-A46D-F6D5AEA025ED}" type="presParOf" srcId="{C1EEA515-42C8-4796-9AF6-B50E99597A3F}" destId="{996DBC21-45D1-41F1-BCAD-BBA10BD022FF}" srcOrd="6" destOrd="0" presId="urn:microsoft.com/office/officeart/2005/8/layout/default"/>
    <dgm:cxn modelId="{31E4C3CB-4A5E-4F5F-8A35-875DB0297CE4}" type="presParOf" srcId="{C1EEA515-42C8-4796-9AF6-B50E99597A3F}" destId="{96783F34-927D-4A1F-AE4A-D21A655EC319}" srcOrd="7" destOrd="0" presId="urn:microsoft.com/office/officeart/2005/8/layout/default"/>
    <dgm:cxn modelId="{9E8A012B-03A9-4266-8CE1-895E66EFABB2}" type="presParOf" srcId="{C1EEA515-42C8-4796-9AF6-B50E99597A3F}" destId="{D4BEF1DF-2219-491C-94BC-4DFB38527196}" srcOrd="8" destOrd="0" presId="urn:microsoft.com/office/officeart/2005/8/layout/default"/>
    <dgm:cxn modelId="{5AAB434B-4BB6-4A46-A550-8DAC978FBD35}" type="presParOf" srcId="{C1EEA515-42C8-4796-9AF6-B50E99597A3F}" destId="{DE77136D-343D-4732-8B24-F1906B5A5CAE}" srcOrd="9" destOrd="0" presId="urn:microsoft.com/office/officeart/2005/8/layout/default"/>
    <dgm:cxn modelId="{F7147E92-EFE9-41AC-B214-9D348F1E9267}" type="presParOf" srcId="{C1EEA515-42C8-4796-9AF6-B50E99597A3F}" destId="{DD72DC9A-5EB5-4EBE-B821-7DBF5D6E7D7C}" srcOrd="10" destOrd="0" presId="urn:microsoft.com/office/officeart/2005/8/layout/default"/>
    <dgm:cxn modelId="{62B6B54A-92B6-401D-A209-1E792E607EAE}" type="presParOf" srcId="{C1EEA515-42C8-4796-9AF6-B50E99597A3F}" destId="{12420652-8EF5-4EE3-B7DD-8613AD994015}" srcOrd="11" destOrd="0" presId="urn:microsoft.com/office/officeart/2005/8/layout/default"/>
    <dgm:cxn modelId="{A195BB54-4CB7-40D8-BF11-E3789CF5F6E8}" type="presParOf" srcId="{C1EEA515-42C8-4796-9AF6-B50E99597A3F}" destId="{A490C69D-0E0E-4E98-B68A-97BD1008C620}" srcOrd="12" destOrd="0" presId="urn:microsoft.com/office/officeart/2005/8/layout/default"/>
    <dgm:cxn modelId="{7D8D183D-2C1D-497A-A858-2042D994357B}" type="presParOf" srcId="{C1EEA515-42C8-4796-9AF6-B50E99597A3F}" destId="{13D2F336-CB62-4799-A375-15635A22BED8}" srcOrd="13" destOrd="0" presId="urn:microsoft.com/office/officeart/2005/8/layout/default"/>
    <dgm:cxn modelId="{7402886A-D639-4074-839D-3B5516F8F4B2}" type="presParOf" srcId="{C1EEA515-42C8-4796-9AF6-B50E99597A3F}" destId="{DCA87870-BC68-4E70-A86B-BB404105586E}" srcOrd="1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92D831C-38FA-490B-AD2D-01CA971840EE}" type="doc">
      <dgm:prSet loTypeId="urn:microsoft.com/office/officeart/2005/8/layout/vList5" loCatId="list" qsTypeId="urn:microsoft.com/office/officeart/2005/8/quickstyle/simple5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F0D1945B-526A-487E-8ECF-C6A1589390FD}">
      <dgm:prSet custT="1"/>
      <dgm:spPr/>
      <dgm:t>
        <a:bodyPr lIns="0" rIns="0"/>
        <a:lstStyle/>
        <a:p>
          <a:pPr rtl="0"/>
          <a:r>
            <a:rPr lang="en-US" sz="1800" dirty="0" smtClean="0"/>
            <a:t>Next Gen Service uses various means to  interact with its environment</a:t>
          </a:r>
          <a:endParaRPr lang="en-US" sz="1800" dirty="0"/>
        </a:p>
      </dgm:t>
    </dgm:pt>
    <dgm:pt modelId="{98FE3BAF-600C-4809-A367-5EF147CCED85}" type="parTrans" cxnId="{7E898187-C604-44A6-B32B-24F42E3F62F6}">
      <dgm:prSet/>
      <dgm:spPr/>
      <dgm:t>
        <a:bodyPr/>
        <a:lstStyle/>
        <a:p>
          <a:endParaRPr lang="en-US" sz="3200"/>
        </a:p>
      </dgm:t>
    </dgm:pt>
    <dgm:pt modelId="{06158A55-2E04-4D53-9D18-748A878709D4}" type="sibTrans" cxnId="{7E898187-C604-44A6-B32B-24F42E3F62F6}">
      <dgm:prSet/>
      <dgm:spPr/>
      <dgm:t>
        <a:bodyPr/>
        <a:lstStyle/>
        <a:p>
          <a:endParaRPr lang="en-US" sz="3200"/>
        </a:p>
      </dgm:t>
    </dgm:pt>
    <dgm:pt modelId="{332B925A-4FEF-4A49-96C2-BF3671CB9AAE}">
      <dgm:prSet custT="1"/>
      <dgm:spPr/>
      <dgm:t>
        <a:bodyPr lIns="91440" tIns="0" rIns="91440" bIns="0"/>
        <a:lstStyle/>
        <a:p>
          <a:pPr rtl="0"/>
          <a:r>
            <a:rPr lang="en-US" sz="1600" smtClean="0"/>
            <a:t>Sensors in various form</a:t>
          </a:r>
          <a:endParaRPr lang="en-US" sz="1600"/>
        </a:p>
      </dgm:t>
    </dgm:pt>
    <dgm:pt modelId="{FCF6D3F8-9B20-4160-BBB9-F42B0A54195A}" type="parTrans" cxnId="{89D03CC2-8CF3-4751-970D-7F275127D150}">
      <dgm:prSet/>
      <dgm:spPr/>
      <dgm:t>
        <a:bodyPr/>
        <a:lstStyle/>
        <a:p>
          <a:endParaRPr lang="en-US" sz="3200"/>
        </a:p>
      </dgm:t>
    </dgm:pt>
    <dgm:pt modelId="{95D44144-8B67-452E-A673-11FB6783B071}" type="sibTrans" cxnId="{89D03CC2-8CF3-4751-970D-7F275127D150}">
      <dgm:prSet/>
      <dgm:spPr/>
      <dgm:t>
        <a:bodyPr/>
        <a:lstStyle/>
        <a:p>
          <a:endParaRPr lang="en-US" sz="3200"/>
        </a:p>
      </dgm:t>
    </dgm:pt>
    <dgm:pt modelId="{3CC9B701-BAAE-47E7-AB41-8D6F3916EF1A}">
      <dgm:prSet custT="1"/>
      <dgm:spPr/>
      <dgm:t>
        <a:bodyPr lIns="91440" tIns="0" rIns="91440" bIns="0"/>
        <a:lstStyle/>
        <a:p>
          <a:pPr rtl="0"/>
          <a:r>
            <a:rPr lang="en-US" sz="1600" dirty="0" smtClean="0"/>
            <a:t>Users connected via wired and wireless network</a:t>
          </a:r>
          <a:endParaRPr lang="en-US" sz="1600" dirty="0"/>
        </a:p>
      </dgm:t>
    </dgm:pt>
    <dgm:pt modelId="{922A4DBB-2651-4957-A2BC-E69537779B6B}" type="parTrans" cxnId="{3D10E558-E14C-4FC3-BEF9-C71885253574}">
      <dgm:prSet/>
      <dgm:spPr/>
      <dgm:t>
        <a:bodyPr/>
        <a:lstStyle/>
        <a:p>
          <a:endParaRPr lang="en-US" sz="3200"/>
        </a:p>
      </dgm:t>
    </dgm:pt>
    <dgm:pt modelId="{ABA6488C-C525-4040-B3B4-305AA0C07A61}" type="sibTrans" cxnId="{3D10E558-E14C-4FC3-BEF9-C71885253574}">
      <dgm:prSet/>
      <dgm:spPr/>
      <dgm:t>
        <a:bodyPr/>
        <a:lstStyle/>
        <a:p>
          <a:endParaRPr lang="en-US" sz="3200"/>
        </a:p>
      </dgm:t>
    </dgm:pt>
    <dgm:pt modelId="{E9098A93-4E54-4496-B8E3-2D9432CFB0FA}">
      <dgm:prSet custT="1"/>
      <dgm:spPr/>
      <dgm:t>
        <a:bodyPr lIns="91440" tIns="0" rIns="91440" bIns="0"/>
        <a:lstStyle/>
        <a:p>
          <a:pPr rtl="0"/>
          <a:r>
            <a:rPr lang="en-US" sz="1600" dirty="0" smtClean="0"/>
            <a:t>Create, share and communicate information among the service community- subscriber, provider, manufacturer</a:t>
          </a:r>
          <a:endParaRPr lang="en-US" sz="1600" dirty="0"/>
        </a:p>
      </dgm:t>
    </dgm:pt>
    <dgm:pt modelId="{C257A90D-4011-4062-98AD-923913871984}" type="parTrans" cxnId="{CC25EE40-1DE5-452D-A3E7-55E104A27531}">
      <dgm:prSet/>
      <dgm:spPr/>
      <dgm:t>
        <a:bodyPr/>
        <a:lstStyle/>
        <a:p>
          <a:endParaRPr lang="en-US" sz="3200"/>
        </a:p>
      </dgm:t>
    </dgm:pt>
    <dgm:pt modelId="{AF680755-C1C1-4613-8AC8-9295511BFD08}" type="sibTrans" cxnId="{CC25EE40-1DE5-452D-A3E7-55E104A27531}">
      <dgm:prSet/>
      <dgm:spPr/>
      <dgm:t>
        <a:bodyPr/>
        <a:lstStyle/>
        <a:p>
          <a:endParaRPr lang="en-US" sz="3200"/>
        </a:p>
      </dgm:t>
    </dgm:pt>
    <dgm:pt modelId="{CE3E219B-8F0A-4F85-963D-D730BD0BA4A5}">
      <dgm:prSet custT="1"/>
      <dgm:spPr/>
      <dgm:t>
        <a:bodyPr lIns="0" rIns="0"/>
        <a:lstStyle/>
        <a:p>
          <a:pPr rtl="0"/>
          <a:r>
            <a:rPr lang="en-US" sz="2400" dirty="0" smtClean="0">
              <a:solidFill>
                <a:schemeClr val="tx1"/>
              </a:solidFill>
            </a:rPr>
            <a:t>Data is massive</a:t>
          </a:r>
          <a:endParaRPr lang="en-US" sz="2400" dirty="0">
            <a:solidFill>
              <a:schemeClr val="tx1"/>
            </a:solidFill>
          </a:endParaRPr>
        </a:p>
      </dgm:t>
    </dgm:pt>
    <dgm:pt modelId="{A72408FD-DA71-417C-B7DB-ECAA67238483}" type="parTrans" cxnId="{2CCE754D-61E5-4D47-8E64-140027E9D168}">
      <dgm:prSet/>
      <dgm:spPr/>
      <dgm:t>
        <a:bodyPr/>
        <a:lstStyle/>
        <a:p>
          <a:endParaRPr lang="en-US" sz="3200"/>
        </a:p>
      </dgm:t>
    </dgm:pt>
    <dgm:pt modelId="{E2102416-84A1-4DE5-AE98-C02C05D76C7E}" type="sibTrans" cxnId="{2CCE754D-61E5-4D47-8E64-140027E9D168}">
      <dgm:prSet/>
      <dgm:spPr/>
      <dgm:t>
        <a:bodyPr/>
        <a:lstStyle/>
        <a:p>
          <a:endParaRPr lang="en-US" sz="3200"/>
        </a:p>
      </dgm:t>
    </dgm:pt>
    <dgm:pt modelId="{60505E1A-F17B-487A-81BC-77D175CFE365}">
      <dgm:prSet custT="1"/>
      <dgm:spPr/>
      <dgm:t>
        <a:bodyPr lIns="91440" tIns="0" rIns="91440" bIns="0"/>
        <a:lstStyle/>
        <a:p>
          <a:pPr rtl="0"/>
          <a:r>
            <a:rPr lang="en-US" sz="1600" dirty="0" smtClean="0"/>
            <a:t>1800 </a:t>
          </a:r>
          <a:r>
            <a:rPr lang="en-US" sz="1600" dirty="0" err="1" smtClean="0"/>
            <a:t>exabyte</a:t>
          </a:r>
          <a:r>
            <a:rPr lang="en-US" sz="1600" dirty="0" smtClean="0"/>
            <a:t> today--  of which 70% is created by individuals</a:t>
          </a:r>
          <a:endParaRPr lang="en-US" sz="1600" dirty="0"/>
        </a:p>
      </dgm:t>
    </dgm:pt>
    <dgm:pt modelId="{2666C106-E314-467E-AC7F-7CD451C2949F}" type="parTrans" cxnId="{7C53E183-7DD8-4AA6-B060-DFCF91934053}">
      <dgm:prSet/>
      <dgm:spPr/>
      <dgm:t>
        <a:bodyPr/>
        <a:lstStyle/>
        <a:p>
          <a:endParaRPr lang="en-US" sz="3200"/>
        </a:p>
      </dgm:t>
    </dgm:pt>
    <dgm:pt modelId="{323A19F3-8F63-446F-BF6D-5508F32FE45A}" type="sibTrans" cxnId="{7C53E183-7DD8-4AA6-B060-DFCF91934053}">
      <dgm:prSet/>
      <dgm:spPr/>
      <dgm:t>
        <a:bodyPr/>
        <a:lstStyle/>
        <a:p>
          <a:endParaRPr lang="en-US" sz="3200"/>
        </a:p>
      </dgm:t>
    </dgm:pt>
    <dgm:pt modelId="{035167AF-FB08-43D7-A5E4-3CB1F11A97DA}">
      <dgm:prSet custT="1"/>
      <dgm:spPr/>
      <dgm:t>
        <a:bodyPr lIns="91440" tIns="0" rIns="91440" bIns="0"/>
        <a:lstStyle/>
        <a:p>
          <a:pPr rtl="0"/>
          <a:r>
            <a:rPr lang="en-US" sz="1600" dirty="0" smtClean="0"/>
            <a:t>Facebook </a:t>
          </a:r>
          <a:r>
            <a:rPr lang="en-US" sz="1600" dirty="0" smtClean="0">
              <a:sym typeface="Wingdings" pitchFamily="2" charset="2"/>
            </a:rPr>
            <a:t> </a:t>
          </a:r>
          <a:r>
            <a:rPr lang="en-US" sz="1600" dirty="0" smtClean="0"/>
            <a:t>more than 30 petabytes of user content </a:t>
          </a:r>
          <a:endParaRPr lang="en-US" sz="1600" dirty="0"/>
        </a:p>
      </dgm:t>
    </dgm:pt>
    <dgm:pt modelId="{221E008B-FFFD-4D90-B05F-7245F4C271BC}" type="parTrans" cxnId="{8ECE3960-22D6-4906-B7F0-7D23C66D7A80}">
      <dgm:prSet/>
      <dgm:spPr/>
      <dgm:t>
        <a:bodyPr/>
        <a:lstStyle/>
        <a:p>
          <a:endParaRPr lang="en-US" sz="3200"/>
        </a:p>
      </dgm:t>
    </dgm:pt>
    <dgm:pt modelId="{AF1F6593-3205-40A1-BDDB-BEC5C8D3B075}" type="sibTrans" cxnId="{8ECE3960-22D6-4906-B7F0-7D23C66D7A80}">
      <dgm:prSet/>
      <dgm:spPr/>
      <dgm:t>
        <a:bodyPr/>
        <a:lstStyle/>
        <a:p>
          <a:endParaRPr lang="en-US" sz="3200"/>
        </a:p>
      </dgm:t>
    </dgm:pt>
    <dgm:pt modelId="{CEAB87C5-A4C4-457E-9364-CDDEC7BA7F10}">
      <dgm:prSet custT="1"/>
      <dgm:spPr/>
      <dgm:t>
        <a:bodyPr lIns="91440" tIns="0" rIns="91440" bIns="0"/>
        <a:lstStyle/>
        <a:p>
          <a:pPr rtl="0"/>
          <a:r>
            <a:rPr lang="en-US" sz="1600" dirty="0" smtClean="0"/>
            <a:t>amazon </a:t>
          </a:r>
          <a:r>
            <a:rPr lang="en-US" sz="1600" dirty="0" smtClean="0">
              <a:sym typeface="Wingdings" pitchFamily="2" charset="2"/>
            </a:rPr>
            <a:t> </a:t>
          </a:r>
          <a:r>
            <a:rPr lang="en-US" sz="1600" dirty="0" smtClean="0"/>
            <a:t>petabytes of user-</a:t>
          </a:r>
          <a:r>
            <a:rPr lang="en-US" sz="1600" dirty="0" err="1" smtClean="0"/>
            <a:t>reco</a:t>
          </a:r>
          <a:r>
            <a:rPr lang="en-US" sz="1600" dirty="0" smtClean="0"/>
            <a:t> &amp; browsing data for recommendation</a:t>
          </a:r>
          <a:endParaRPr lang="en-US" sz="1600" dirty="0"/>
        </a:p>
      </dgm:t>
    </dgm:pt>
    <dgm:pt modelId="{8589B814-C4F4-4B4C-9C5A-A8DE7B817C97}" type="parTrans" cxnId="{B0E62EC1-3F8D-41D3-9B09-6E66FEFFD998}">
      <dgm:prSet/>
      <dgm:spPr/>
      <dgm:t>
        <a:bodyPr/>
        <a:lstStyle/>
        <a:p>
          <a:endParaRPr lang="en-US" sz="3200"/>
        </a:p>
      </dgm:t>
    </dgm:pt>
    <dgm:pt modelId="{E7526678-923E-4D2F-87CE-954E44E74C2B}" type="sibTrans" cxnId="{B0E62EC1-3F8D-41D3-9B09-6E66FEFFD998}">
      <dgm:prSet/>
      <dgm:spPr/>
      <dgm:t>
        <a:bodyPr/>
        <a:lstStyle/>
        <a:p>
          <a:endParaRPr lang="en-US" sz="3200"/>
        </a:p>
      </dgm:t>
    </dgm:pt>
    <dgm:pt modelId="{F5551EE4-7C15-4C9B-BD3E-970B7B30879E}">
      <dgm:prSet custT="1"/>
      <dgm:spPr/>
      <dgm:t>
        <a:bodyPr lIns="0" rIns="0"/>
        <a:lstStyle/>
        <a:p>
          <a:pPr rtl="0"/>
          <a:r>
            <a:rPr lang="en-US" sz="2200" dirty="0" smtClean="0">
              <a:solidFill>
                <a:schemeClr val="tx1"/>
              </a:solidFill>
            </a:rPr>
            <a:t>Unprecedented Impact</a:t>
          </a:r>
          <a:endParaRPr lang="en-US" sz="2200" dirty="0">
            <a:solidFill>
              <a:schemeClr val="tx1"/>
            </a:solidFill>
          </a:endParaRPr>
        </a:p>
      </dgm:t>
    </dgm:pt>
    <dgm:pt modelId="{6606EBDC-720D-4DE1-8511-4C60068C84FD}" type="parTrans" cxnId="{6F08FBD8-3153-4F33-A1E3-AE5C6FE4D306}">
      <dgm:prSet/>
      <dgm:spPr/>
      <dgm:t>
        <a:bodyPr/>
        <a:lstStyle/>
        <a:p>
          <a:endParaRPr lang="en-US" sz="3200"/>
        </a:p>
      </dgm:t>
    </dgm:pt>
    <dgm:pt modelId="{E51594BE-DFD5-44D0-A071-ED79D3C9149C}" type="sibTrans" cxnId="{6F08FBD8-3153-4F33-A1E3-AE5C6FE4D306}">
      <dgm:prSet/>
      <dgm:spPr/>
      <dgm:t>
        <a:bodyPr/>
        <a:lstStyle/>
        <a:p>
          <a:endParaRPr lang="en-US" sz="3200"/>
        </a:p>
      </dgm:t>
    </dgm:pt>
    <dgm:pt modelId="{997040A7-1771-4069-B39B-1286247D97CC}">
      <dgm:prSet custT="1"/>
      <dgm:spPr/>
      <dgm:t>
        <a:bodyPr lIns="91440" tIns="0" rIns="91440" bIns="0"/>
        <a:lstStyle/>
        <a:p>
          <a:pPr rtl="0"/>
          <a:r>
            <a:rPr lang="en-US" sz="1600" dirty="0" smtClean="0"/>
            <a:t>Informed and near optimal decisions on all relevant aspects of the service</a:t>
          </a:r>
          <a:endParaRPr lang="en-US" sz="1600" dirty="0"/>
        </a:p>
      </dgm:t>
    </dgm:pt>
    <dgm:pt modelId="{B52F083B-3048-4391-8D20-B126F0AF87C5}" type="parTrans" cxnId="{78A63898-B995-4EE8-A0F2-A3561ABC0FC7}">
      <dgm:prSet/>
      <dgm:spPr/>
      <dgm:t>
        <a:bodyPr/>
        <a:lstStyle/>
        <a:p>
          <a:endParaRPr lang="en-US" sz="3200"/>
        </a:p>
      </dgm:t>
    </dgm:pt>
    <dgm:pt modelId="{CF0CDACB-5CD5-48C9-B793-10511CE3C7B4}" type="sibTrans" cxnId="{78A63898-B995-4EE8-A0F2-A3561ABC0FC7}">
      <dgm:prSet/>
      <dgm:spPr/>
      <dgm:t>
        <a:bodyPr/>
        <a:lstStyle/>
        <a:p>
          <a:endParaRPr lang="en-US" sz="3200"/>
        </a:p>
      </dgm:t>
    </dgm:pt>
    <dgm:pt modelId="{88C39FF8-F2BA-4A60-9858-A85CCB0DEF0A}">
      <dgm:prSet custT="1"/>
      <dgm:spPr/>
      <dgm:t>
        <a:bodyPr lIns="91440" tIns="0" rIns="91440" bIns="0"/>
        <a:lstStyle/>
        <a:p>
          <a:pPr rtl="0"/>
          <a:r>
            <a:rPr lang="en-US" sz="1600" dirty="0" smtClean="0"/>
            <a:t>Service offering, product design can be improved through </a:t>
          </a:r>
          <a:r>
            <a:rPr lang="en-US" sz="1600" dirty="0" err="1" smtClean="0"/>
            <a:t>realtime</a:t>
          </a:r>
          <a:r>
            <a:rPr lang="en-US" sz="1600" dirty="0" smtClean="0"/>
            <a:t> feedback</a:t>
          </a:r>
          <a:endParaRPr lang="en-US" sz="1600" dirty="0"/>
        </a:p>
      </dgm:t>
    </dgm:pt>
    <dgm:pt modelId="{DF755E4E-9645-48A5-A953-E51B18AF962F}" type="parTrans" cxnId="{4FBDE46D-36D9-4DB9-A9E6-896F75C64E47}">
      <dgm:prSet/>
      <dgm:spPr/>
      <dgm:t>
        <a:bodyPr/>
        <a:lstStyle/>
        <a:p>
          <a:endParaRPr lang="en-US" sz="3200"/>
        </a:p>
      </dgm:t>
    </dgm:pt>
    <dgm:pt modelId="{902A104B-5FB6-41A7-939B-AFDEBA84268F}" type="sibTrans" cxnId="{4FBDE46D-36D9-4DB9-A9E6-896F75C64E47}">
      <dgm:prSet/>
      <dgm:spPr/>
      <dgm:t>
        <a:bodyPr/>
        <a:lstStyle/>
        <a:p>
          <a:endParaRPr lang="en-US" sz="3200"/>
        </a:p>
      </dgm:t>
    </dgm:pt>
    <dgm:pt modelId="{70D23FB8-5448-4BED-986E-A70FD9C37B57}">
      <dgm:prSet custT="1"/>
      <dgm:spPr/>
      <dgm:t>
        <a:bodyPr lIns="91440" tIns="0" rIns="91440" bIns="0"/>
        <a:lstStyle/>
        <a:p>
          <a:pPr rtl="0"/>
          <a:r>
            <a:rPr lang="en-US" sz="1600" dirty="0" smtClean="0"/>
            <a:t>Distribution, production and maintenance can be highly fine tuned</a:t>
          </a:r>
          <a:endParaRPr lang="en-US" sz="1600" dirty="0"/>
        </a:p>
      </dgm:t>
    </dgm:pt>
    <dgm:pt modelId="{B8BB3DF5-8540-4628-80DD-A886EB9DA778}" type="parTrans" cxnId="{0A7CF696-4F41-4F6C-91D2-D2F01FD238F8}">
      <dgm:prSet/>
      <dgm:spPr/>
      <dgm:t>
        <a:bodyPr/>
        <a:lstStyle/>
        <a:p>
          <a:endParaRPr lang="en-US" sz="3200"/>
        </a:p>
      </dgm:t>
    </dgm:pt>
    <dgm:pt modelId="{A855D7BA-41D6-41EB-B148-995AF80CF7B5}" type="sibTrans" cxnId="{0A7CF696-4F41-4F6C-91D2-D2F01FD238F8}">
      <dgm:prSet/>
      <dgm:spPr/>
      <dgm:t>
        <a:bodyPr/>
        <a:lstStyle/>
        <a:p>
          <a:endParaRPr lang="en-US" sz="3200"/>
        </a:p>
      </dgm:t>
    </dgm:pt>
    <dgm:pt modelId="{060A403E-30A2-4FB4-B414-75082A4651C1}">
      <dgm:prSet custT="1"/>
      <dgm:spPr/>
      <dgm:t>
        <a:bodyPr lIns="91440" tIns="0" rIns="91440" bIns="0"/>
        <a:lstStyle/>
        <a:p>
          <a:pPr rtl="0"/>
          <a:r>
            <a:rPr lang="en-US" sz="1600" smtClean="0"/>
            <a:t>Empowers consumers like never before</a:t>
          </a:r>
          <a:endParaRPr lang="en-US" sz="1600"/>
        </a:p>
      </dgm:t>
    </dgm:pt>
    <dgm:pt modelId="{39AF6170-D456-4DE6-8215-87016A06D7B0}" type="parTrans" cxnId="{D910339E-DDA0-4E3D-8144-AA0664252865}">
      <dgm:prSet/>
      <dgm:spPr/>
      <dgm:t>
        <a:bodyPr/>
        <a:lstStyle/>
        <a:p>
          <a:endParaRPr lang="en-US" sz="3200"/>
        </a:p>
      </dgm:t>
    </dgm:pt>
    <dgm:pt modelId="{47BB49F2-1815-45FA-AF43-5A3ED8AF8BE3}" type="sibTrans" cxnId="{D910339E-DDA0-4E3D-8144-AA0664252865}">
      <dgm:prSet/>
      <dgm:spPr/>
      <dgm:t>
        <a:bodyPr/>
        <a:lstStyle/>
        <a:p>
          <a:endParaRPr lang="en-US" sz="3200"/>
        </a:p>
      </dgm:t>
    </dgm:pt>
    <dgm:pt modelId="{BA42B8C7-0ECE-4B61-85F0-0BFC2271A1C3}">
      <dgm:prSet custT="1"/>
      <dgm:spPr/>
      <dgm:t>
        <a:bodyPr lIns="0" rIns="0"/>
        <a:lstStyle/>
        <a:p>
          <a:pPr rtl="0"/>
          <a:r>
            <a:rPr lang="en-US" sz="2400" dirty="0" smtClean="0">
              <a:solidFill>
                <a:schemeClr val="tx1"/>
              </a:solidFill>
            </a:rPr>
            <a:t>Scenarios</a:t>
          </a:r>
          <a:endParaRPr lang="en-US" sz="2400" dirty="0">
            <a:solidFill>
              <a:schemeClr val="tx1"/>
            </a:solidFill>
          </a:endParaRPr>
        </a:p>
      </dgm:t>
    </dgm:pt>
    <dgm:pt modelId="{42EB0C7D-8238-4176-95E2-07BDBC02AFE6}" type="parTrans" cxnId="{06B37D8C-A304-4946-8CE8-40E53203C984}">
      <dgm:prSet/>
      <dgm:spPr/>
      <dgm:t>
        <a:bodyPr/>
        <a:lstStyle/>
        <a:p>
          <a:endParaRPr lang="en-US" sz="3200"/>
        </a:p>
      </dgm:t>
    </dgm:pt>
    <dgm:pt modelId="{5200B6D9-053D-48AA-8B53-52674F0CBBBF}" type="sibTrans" cxnId="{06B37D8C-A304-4946-8CE8-40E53203C984}">
      <dgm:prSet/>
      <dgm:spPr/>
      <dgm:t>
        <a:bodyPr/>
        <a:lstStyle/>
        <a:p>
          <a:endParaRPr lang="en-US" sz="3200"/>
        </a:p>
      </dgm:t>
    </dgm:pt>
    <dgm:pt modelId="{B1C0CDC7-42B5-4615-B024-C37463B13C82}">
      <dgm:prSet custT="1"/>
      <dgm:spPr/>
      <dgm:t>
        <a:bodyPr lIns="91440" tIns="0" rIns="91440" bIns="0"/>
        <a:lstStyle/>
        <a:p>
          <a:pPr rtl="0"/>
          <a:r>
            <a:rPr lang="en-US" sz="1600" dirty="0" smtClean="0"/>
            <a:t>US Healthcare can save </a:t>
          </a:r>
          <a:r>
            <a:rPr lang="en-US" sz="1600" dirty="0" err="1" smtClean="0"/>
            <a:t>upto</a:t>
          </a:r>
          <a:r>
            <a:rPr lang="en-US" sz="1600" dirty="0" smtClean="0"/>
            <a:t> 300B through informed decision making</a:t>
          </a:r>
          <a:endParaRPr lang="en-US" sz="1600" dirty="0"/>
        </a:p>
      </dgm:t>
    </dgm:pt>
    <dgm:pt modelId="{2C46085F-8E44-4CE4-9933-BC6982193491}" type="parTrans" cxnId="{59F42E05-75E2-4F2D-9A2E-D7105E2A0F11}">
      <dgm:prSet/>
      <dgm:spPr/>
      <dgm:t>
        <a:bodyPr/>
        <a:lstStyle/>
        <a:p>
          <a:endParaRPr lang="en-US" sz="3200"/>
        </a:p>
      </dgm:t>
    </dgm:pt>
    <dgm:pt modelId="{43C05FE0-A8F1-431D-A18E-FC5E2EC1A4BD}" type="sibTrans" cxnId="{59F42E05-75E2-4F2D-9A2E-D7105E2A0F11}">
      <dgm:prSet/>
      <dgm:spPr/>
      <dgm:t>
        <a:bodyPr/>
        <a:lstStyle/>
        <a:p>
          <a:endParaRPr lang="en-US" sz="3200"/>
        </a:p>
      </dgm:t>
    </dgm:pt>
    <dgm:pt modelId="{4B817D78-5B49-40D0-B3AC-B1400A350462}">
      <dgm:prSet custT="1"/>
      <dgm:spPr/>
      <dgm:t>
        <a:bodyPr lIns="91440" tIns="0" rIns="91440" bIns="0"/>
        <a:lstStyle/>
        <a:p>
          <a:pPr rtl="0"/>
          <a:r>
            <a:rPr lang="en-US" sz="1600" dirty="0" smtClean="0"/>
            <a:t>Europe </a:t>
          </a:r>
          <a:r>
            <a:rPr lang="en-US" sz="1600" dirty="0" err="1" smtClean="0"/>
            <a:t>govt</a:t>
          </a:r>
          <a:r>
            <a:rPr lang="en-US" sz="1600" dirty="0" smtClean="0"/>
            <a:t>  admin service can save € 100B through operational efficiency in tax collection </a:t>
          </a:r>
          <a:endParaRPr lang="en-US" sz="1600" dirty="0"/>
        </a:p>
      </dgm:t>
    </dgm:pt>
    <dgm:pt modelId="{9DC94F91-FBC5-4D9F-86DD-DEA5806E2089}" type="parTrans" cxnId="{EDB1EE54-EDE4-4270-8D7A-39BE7A832023}">
      <dgm:prSet/>
      <dgm:spPr/>
      <dgm:t>
        <a:bodyPr/>
        <a:lstStyle/>
        <a:p>
          <a:endParaRPr lang="en-US" sz="3200"/>
        </a:p>
      </dgm:t>
    </dgm:pt>
    <dgm:pt modelId="{40F52E0D-B881-4A8C-ACAC-5958E3DEA63E}" type="sibTrans" cxnId="{EDB1EE54-EDE4-4270-8D7A-39BE7A832023}">
      <dgm:prSet/>
      <dgm:spPr/>
      <dgm:t>
        <a:bodyPr/>
        <a:lstStyle/>
        <a:p>
          <a:endParaRPr lang="en-US" sz="3200"/>
        </a:p>
      </dgm:t>
    </dgm:pt>
    <dgm:pt modelId="{85CDA85C-C6A5-4262-B75E-98964D20B1EE}">
      <dgm:prSet custT="1"/>
      <dgm:spPr/>
      <dgm:t>
        <a:bodyPr lIns="91440" tIns="0" rIns="91440" bIns="0"/>
        <a:lstStyle/>
        <a:p>
          <a:pPr rtl="0"/>
          <a:r>
            <a:rPr lang="en-US" sz="1600" dirty="0" smtClean="0"/>
            <a:t>Personalized suggestions, optimized real-time pricing – Amazon </a:t>
          </a:r>
          <a:endParaRPr lang="en-US" sz="1600" dirty="0"/>
        </a:p>
      </dgm:t>
    </dgm:pt>
    <dgm:pt modelId="{F3007C23-CFFD-421A-95DB-23C07D7E55FF}" type="parTrans" cxnId="{3021A3FC-EFAA-4180-8C9F-5A7DC5E941FB}">
      <dgm:prSet/>
      <dgm:spPr/>
      <dgm:t>
        <a:bodyPr/>
        <a:lstStyle/>
        <a:p>
          <a:endParaRPr lang="en-US" sz="3200"/>
        </a:p>
      </dgm:t>
    </dgm:pt>
    <dgm:pt modelId="{6A5640D4-49FB-4593-94DA-161061BF3D78}" type="sibTrans" cxnId="{3021A3FC-EFAA-4180-8C9F-5A7DC5E941FB}">
      <dgm:prSet/>
      <dgm:spPr/>
      <dgm:t>
        <a:bodyPr/>
        <a:lstStyle/>
        <a:p>
          <a:endParaRPr lang="en-US" sz="3200"/>
        </a:p>
      </dgm:t>
    </dgm:pt>
    <dgm:pt modelId="{D6B84F69-384F-4728-8DB1-84E03C22191E}" type="pres">
      <dgm:prSet presAssocID="{592D831C-38FA-490B-AD2D-01CA971840E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96E63F1-C344-4481-A29C-C212BAB4D197}" type="pres">
      <dgm:prSet presAssocID="{F0D1945B-526A-487E-8ECF-C6A1589390FD}" presName="linNode" presStyleCnt="0"/>
      <dgm:spPr/>
    </dgm:pt>
    <dgm:pt modelId="{D12DBB69-F90E-403C-A495-5F22D6BA7A3A}" type="pres">
      <dgm:prSet presAssocID="{F0D1945B-526A-487E-8ECF-C6A1589390FD}" presName="parentText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5F91EF-DA48-48C8-9613-CE3A4D1F94ED}" type="pres">
      <dgm:prSet presAssocID="{F0D1945B-526A-487E-8ECF-C6A1589390FD}" presName="descendantText" presStyleLbl="alignAccFollowNode1" presStyleIdx="0" presStyleCnt="4" custScaleX="194873" custScaleY="11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57B4B85-0855-4A02-BBFC-8577708679E4}" type="pres">
      <dgm:prSet presAssocID="{06158A55-2E04-4D53-9D18-748A878709D4}" presName="sp" presStyleCnt="0"/>
      <dgm:spPr/>
    </dgm:pt>
    <dgm:pt modelId="{1CD11D38-4ECC-4BE2-8B08-337390AB0A61}" type="pres">
      <dgm:prSet presAssocID="{CE3E219B-8F0A-4F85-963D-D730BD0BA4A5}" presName="linNode" presStyleCnt="0"/>
      <dgm:spPr/>
    </dgm:pt>
    <dgm:pt modelId="{9434E805-80E4-488E-8403-A8D1653C7705}" type="pres">
      <dgm:prSet presAssocID="{CE3E219B-8F0A-4F85-963D-D730BD0BA4A5}" presName="parentText" presStyleLbl="node1" presStyleIdx="1" presStyleCnt="4" custScaleY="82645" custLinFactNeighborY="-107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BBB1D00-DB29-4526-86AD-E32211C65EAB}" type="pres">
      <dgm:prSet presAssocID="{CE3E219B-8F0A-4F85-963D-D730BD0BA4A5}" presName="descendantText" presStyleLbl="alignAccFollowNode1" presStyleIdx="1" presStyleCnt="4" custScaleX="194873" custScaleY="90909" custLinFactNeighborY="-442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BC43F39-3568-46F2-9779-766596CAC8B2}" type="pres">
      <dgm:prSet presAssocID="{E2102416-84A1-4DE5-AE98-C02C05D76C7E}" presName="sp" presStyleCnt="0"/>
      <dgm:spPr/>
    </dgm:pt>
    <dgm:pt modelId="{DF152D12-2395-462F-A4D7-8473E29E4B6E}" type="pres">
      <dgm:prSet presAssocID="{F5551EE4-7C15-4C9B-BD3E-970B7B30879E}" presName="linNode" presStyleCnt="0"/>
      <dgm:spPr/>
    </dgm:pt>
    <dgm:pt modelId="{FB9D9ADF-97FB-481B-8FAE-D63E3E845E77}" type="pres">
      <dgm:prSet presAssocID="{F5551EE4-7C15-4C9B-BD3E-970B7B30879E}" presName="parentText" presStyleLbl="node1" presStyleIdx="2" presStyleCnt="4" custScaleY="90910" custLinFactNeighborY="-162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48CE23-EB5C-4F41-9B21-26C2E3BCCF1A}" type="pres">
      <dgm:prSet presAssocID="{F5551EE4-7C15-4C9B-BD3E-970B7B30879E}" presName="descendantText" presStyleLbl="alignAccFollowNode1" presStyleIdx="2" presStyleCnt="4" custScaleX="194873" custScaleY="110000" custLinFactNeighborY="-7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A60C5B-72FC-42CD-A0AA-190356DDF1E2}" type="pres">
      <dgm:prSet presAssocID="{E51594BE-DFD5-44D0-A071-ED79D3C9149C}" presName="sp" presStyleCnt="0"/>
      <dgm:spPr/>
    </dgm:pt>
    <dgm:pt modelId="{77FB5783-0C1E-46C1-8D03-D44B27654150}" type="pres">
      <dgm:prSet presAssocID="{BA42B8C7-0ECE-4B61-85F0-0BFC2271A1C3}" presName="linNode" presStyleCnt="0"/>
      <dgm:spPr/>
    </dgm:pt>
    <dgm:pt modelId="{B060186A-6220-4172-8A29-1AFD90CCCFF1}" type="pres">
      <dgm:prSet presAssocID="{BA42B8C7-0ECE-4B61-85F0-0BFC2271A1C3}" presName="parentText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7F4BAC5-875B-407D-A6B3-3CC16258BD81}" type="pres">
      <dgm:prSet presAssocID="{BA42B8C7-0ECE-4B61-85F0-0BFC2271A1C3}" presName="descendantText" presStyleLbl="alignAccFollowNode1" presStyleIdx="3" presStyleCnt="4" custScaleX="194873" custScaleY="121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910339E-DDA0-4E3D-8144-AA0664252865}" srcId="{F5551EE4-7C15-4C9B-BD3E-970B7B30879E}" destId="{060A403E-30A2-4FB4-B414-75082A4651C1}" srcOrd="3" destOrd="0" parTransId="{39AF6170-D456-4DE6-8215-87016A06D7B0}" sibTransId="{47BB49F2-1815-45FA-AF43-5A3ED8AF8BE3}"/>
    <dgm:cxn modelId="{B0E62EC1-3F8D-41D3-9B09-6E66FEFFD998}" srcId="{CE3E219B-8F0A-4F85-963D-D730BD0BA4A5}" destId="{CEAB87C5-A4C4-457E-9364-CDDEC7BA7F10}" srcOrd="2" destOrd="0" parTransId="{8589B814-C4F4-4B4C-9C5A-A8DE7B817C97}" sibTransId="{E7526678-923E-4D2F-87CE-954E44E74C2B}"/>
    <dgm:cxn modelId="{6F08FBD8-3153-4F33-A1E3-AE5C6FE4D306}" srcId="{592D831C-38FA-490B-AD2D-01CA971840EE}" destId="{F5551EE4-7C15-4C9B-BD3E-970B7B30879E}" srcOrd="2" destOrd="0" parTransId="{6606EBDC-720D-4DE1-8511-4C60068C84FD}" sibTransId="{E51594BE-DFD5-44D0-A071-ED79D3C9149C}"/>
    <dgm:cxn modelId="{78A63898-B995-4EE8-A0F2-A3561ABC0FC7}" srcId="{F5551EE4-7C15-4C9B-BD3E-970B7B30879E}" destId="{997040A7-1771-4069-B39B-1286247D97CC}" srcOrd="0" destOrd="0" parTransId="{B52F083B-3048-4391-8D20-B126F0AF87C5}" sibTransId="{CF0CDACB-5CD5-48C9-B793-10511CE3C7B4}"/>
    <dgm:cxn modelId="{FDED596C-0040-4F99-9914-88CEB633145C}" type="presOf" srcId="{E9098A93-4E54-4496-B8E3-2D9432CFB0FA}" destId="{7C5F91EF-DA48-48C8-9613-CE3A4D1F94ED}" srcOrd="0" destOrd="2" presId="urn:microsoft.com/office/officeart/2005/8/layout/vList5"/>
    <dgm:cxn modelId="{4FBDE46D-36D9-4DB9-A9E6-896F75C64E47}" srcId="{F5551EE4-7C15-4C9B-BD3E-970B7B30879E}" destId="{88C39FF8-F2BA-4A60-9858-A85CCB0DEF0A}" srcOrd="1" destOrd="0" parTransId="{DF755E4E-9645-48A5-A953-E51B18AF962F}" sibTransId="{902A104B-5FB6-41A7-939B-AFDEBA84268F}"/>
    <dgm:cxn modelId="{06B37D8C-A304-4946-8CE8-40E53203C984}" srcId="{592D831C-38FA-490B-AD2D-01CA971840EE}" destId="{BA42B8C7-0ECE-4B61-85F0-0BFC2271A1C3}" srcOrd="3" destOrd="0" parTransId="{42EB0C7D-8238-4176-95E2-07BDBC02AFE6}" sibTransId="{5200B6D9-053D-48AA-8B53-52674F0CBBBF}"/>
    <dgm:cxn modelId="{F6CB23AC-D895-4BE8-BBE7-8DF79210EA77}" type="presOf" srcId="{CE3E219B-8F0A-4F85-963D-D730BD0BA4A5}" destId="{9434E805-80E4-488E-8403-A8D1653C7705}" srcOrd="0" destOrd="0" presId="urn:microsoft.com/office/officeart/2005/8/layout/vList5"/>
    <dgm:cxn modelId="{A54EC537-45F1-495E-8079-700A3882AC3A}" type="presOf" srcId="{F0D1945B-526A-487E-8ECF-C6A1589390FD}" destId="{D12DBB69-F90E-403C-A495-5F22D6BA7A3A}" srcOrd="0" destOrd="0" presId="urn:microsoft.com/office/officeart/2005/8/layout/vList5"/>
    <dgm:cxn modelId="{9F3DC2A0-D563-4186-963A-79C974F72E00}" type="presOf" srcId="{035167AF-FB08-43D7-A5E4-3CB1F11A97DA}" destId="{BBBB1D00-DB29-4526-86AD-E32211C65EAB}" srcOrd="0" destOrd="1" presId="urn:microsoft.com/office/officeart/2005/8/layout/vList5"/>
    <dgm:cxn modelId="{CC25EE40-1DE5-452D-A3E7-55E104A27531}" srcId="{F0D1945B-526A-487E-8ECF-C6A1589390FD}" destId="{E9098A93-4E54-4496-B8E3-2D9432CFB0FA}" srcOrd="2" destOrd="0" parTransId="{C257A90D-4011-4062-98AD-923913871984}" sibTransId="{AF680755-C1C1-4613-8AC8-9295511BFD08}"/>
    <dgm:cxn modelId="{C3F0BF10-82A6-4757-85EA-C0E6091E5293}" type="presOf" srcId="{4B817D78-5B49-40D0-B3AC-B1400A350462}" destId="{D7F4BAC5-875B-407D-A6B3-3CC16258BD81}" srcOrd="0" destOrd="1" presId="urn:microsoft.com/office/officeart/2005/8/layout/vList5"/>
    <dgm:cxn modelId="{A5381DBD-FD5E-4259-BBD3-7344B9866DE5}" type="presOf" srcId="{F5551EE4-7C15-4C9B-BD3E-970B7B30879E}" destId="{FB9D9ADF-97FB-481B-8FAE-D63E3E845E77}" srcOrd="0" destOrd="0" presId="urn:microsoft.com/office/officeart/2005/8/layout/vList5"/>
    <dgm:cxn modelId="{EDB1EE54-EDE4-4270-8D7A-39BE7A832023}" srcId="{BA42B8C7-0ECE-4B61-85F0-0BFC2271A1C3}" destId="{4B817D78-5B49-40D0-B3AC-B1400A350462}" srcOrd="1" destOrd="0" parTransId="{9DC94F91-FBC5-4D9F-86DD-DEA5806E2089}" sibTransId="{40F52E0D-B881-4A8C-ACAC-5958E3DEA63E}"/>
    <dgm:cxn modelId="{25A9A47B-F3F4-462D-B6F5-F5E6C6B6F678}" type="presOf" srcId="{060A403E-30A2-4FB4-B414-75082A4651C1}" destId="{C348CE23-EB5C-4F41-9B21-26C2E3BCCF1A}" srcOrd="0" destOrd="3" presId="urn:microsoft.com/office/officeart/2005/8/layout/vList5"/>
    <dgm:cxn modelId="{BEDD01A1-3935-4272-8B4E-F1668E6C4279}" type="presOf" srcId="{85CDA85C-C6A5-4262-B75E-98964D20B1EE}" destId="{D7F4BAC5-875B-407D-A6B3-3CC16258BD81}" srcOrd="0" destOrd="2" presId="urn:microsoft.com/office/officeart/2005/8/layout/vList5"/>
    <dgm:cxn modelId="{4F97075A-F56F-4547-BCB8-58D0D6253D42}" type="presOf" srcId="{592D831C-38FA-490B-AD2D-01CA971840EE}" destId="{D6B84F69-384F-4728-8DB1-84E03C22191E}" srcOrd="0" destOrd="0" presId="urn:microsoft.com/office/officeart/2005/8/layout/vList5"/>
    <dgm:cxn modelId="{3D10E558-E14C-4FC3-BEF9-C71885253574}" srcId="{F0D1945B-526A-487E-8ECF-C6A1589390FD}" destId="{3CC9B701-BAAE-47E7-AB41-8D6F3916EF1A}" srcOrd="1" destOrd="0" parTransId="{922A4DBB-2651-4957-A2BC-E69537779B6B}" sibTransId="{ABA6488C-C525-4040-B3B4-305AA0C07A61}"/>
    <dgm:cxn modelId="{0A7CF696-4F41-4F6C-91D2-D2F01FD238F8}" srcId="{F5551EE4-7C15-4C9B-BD3E-970B7B30879E}" destId="{70D23FB8-5448-4BED-986E-A70FD9C37B57}" srcOrd="2" destOrd="0" parTransId="{B8BB3DF5-8540-4628-80DD-A886EB9DA778}" sibTransId="{A855D7BA-41D6-41EB-B148-995AF80CF7B5}"/>
    <dgm:cxn modelId="{337D1088-D056-4A32-BE3F-9273DEC20B81}" type="presOf" srcId="{70D23FB8-5448-4BED-986E-A70FD9C37B57}" destId="{C348CE23-EB5C-4F41-9B21-26C2E3BCCF1A}" srcOrd="0" destOrd="2" presId="urn:microsoft.com/office/officeart/2005/8/layout/vList5"/>
    <dgm:cxn modelId="{8ECE3960-22D6-4906-B7F0-7D23C66D7A80}" srcId="{CE3E219B-8F0A-4F85-963D-D730BD0BA4A5}" destId="{035167AF-FB08-43D7-A5E4-3CB1F11A97DA}" srcOrd="1" destOrd="0" parTransId="{221E008B-FFFD-4D90-B05F-7245F4C271BC}" sibTransId="{AF1F6593-3205-40A1-BDDB-BEC5C8D3B075}"/>
    <dgm:cxn modelId="{2CCE754D-61E5-4D47-8E64-140027E9D168}" srcId="{592D831C-38FA-490B-AD2D-01CA971840EE}" destId="{CE3E219B-8F0A-4F85-963D-D730BD0BA4A5}" srcOrd="1" destOrd="0" parTransId="{A72408FD-DA71-417C-B7DB-ECAA67238483}" sibTransId="{E2102416-84A1-4DE5-AE98-C02C05D76C7E}"/>
    <dgm:cxn modelId="{7E898187-C604-44A6-B32B-24F42E3F62F6}" srcId="{592D831C-38FA-490B-AD2D-01CA971840EE}" destId="{F0D1945B-526A-487E-8ECF-C6A1589390FD}" srcOrd="0" destOrd="0" parTransId="{98FE3BAF-600C-4809-A367-5EF147CCED85}" sibTransId="{06158A55-2E04-4D53-9D18-748A878709D4}"/>
    <dgm:cxn modelId="{BE7F6E29-D253-4DE8-8DBB-A86E813F8F7B}" type="presOf" srcId="{3CC9B701-BAAE-47E7-AB41-8D6F3916EF1A}" destId="{7C5F91EF-DA48-48C8-9613-CE3A4D1F94ED}" srcOrd="0" destOrd="1" presId="urn:microsoft.com/office/officeart/2005/8/layout/vList5"/>
    <dgm:cxn modelId="{89D03CC2-8CF3-4751-970D-7F275127D150}" srcId="{F0D1945B-526A-487E-8ECF-C6A1589390FD}" destId="{332B925A-4FEF-4A49-96C2-BF3671CB9AAE}" srcOrd="0" destOrd="0" parTransId="{FCF6D3F8-9B20-4160-BBB9-F42B0A54195A}" sibTransId="{95D44144-8B67-452E-A673-11FB6783B071}"/>
    <dgm:cxn modelId="{4CB17637-E5B5-4B75-8FE3-EA786E94247A}" type="presOf" srcId="{88C39FF8-F2BA-4A60-9858-A85CCB0DEF0A}" destId="{C348CE23-EB5C-4F41-9B21-26C2E3BCCF1A}" srcOrd="0" destOrd="1" presId="urn:microsoft.com/office/officeart/2005/8/layout/vList5"/>
    <dgm:cxn modelId="{30D20E5D-A980-452C-BB2C-517BA1AC11CA}" type="presOf" srcId="{60505E1A-F17B-487A-81BC-77D175CFE365}" destId="{BBBB1D00-DB29-4526-86AD-E32211C65EAB}" srcOrd="0" destOrd="0" presId="urn:microsoft.com/office/officeart/2005/8/layout/vList5"/>
    <dgm:cxn modelId="{3021A3FC-EFAA-4180-8C9F-5A7DC5E941FB}" srcId="{BA42B8C7-0ECE-4B61-85F0-0BFC2271A1C3}" destId="{85CDA85C-C6A5-4262-B75E-98964D20B1EE}" srcOrd="2" destOrd="0" parTransId="{F3007C23-CFFD-421A-95DB-23C07D7E55FF}" sibTransId="{6A5640D4-49FB-4593-94DA-161061BF3D78}"/>
    <dgm:cxn modelId="{F851C37F-F4ED-4DD7-8AF2-85B05CD63E0C}" type="presOf" srcId="{BA42B8C7-0ECE-4B61-85F0-0BFC2271A1C3}" destId="{B060186A-6220-4172-8A29-1AFD90CCCFF1}" srcOrd="0" destOrd="0" presId="urn:microsoft.com/office/officeart/2005/8/layout/vList5"/>
    <dgm:cxn modelId="{B5AADD90-3553-4F7B-8EF4-F2715E31873B}" type="presOf" srcId="{B1C0CDC7-42B5-4615-B024-C37463B13C82}" destId="{D7F4BAC5-875B-407D-A6B3-3CC16258BD81}" srcOrd="0" destOrd="0" presId="urn:microsoft.com/office/officeart/2005/8/layout/vList5"/>
    <dgm:cxn modelId="{7C53E183-7DD8-4AA6-B060-DFCF91934053}" srcId="{CE3E219B-8F0A-4F85-963D-D730BD0BA4A5}" destId="{60505E1A-F17B-487A-81BC-77D175CFE365}" srcOrd="0" destOrd="0" parTransId="{2666C106-E314-467E-AC7F-7CD451C2949F}" sibTransId="{323A19F3-8F63-446F-BF6D-5508F32FE45A}"/>
    <dgm:cxn modelId="{E559C6E2-79DE-4EC2-A7CE-EBBB6856FA27}" type="presOf" srcId="{332B925A-4FEF-4A49-96C2-BF3671CB9AAE}" destId="{7C5F91EF-DA48-48C8-9613-CE3A4D1F94ED}" srcOrd="0" destOrd="0" presId="urn:microsoft.com/office/officeart/2005/8/layout/vList5"/>
    <dgm:cxn modelId="{59F42E05-75E2-4F2D-9A2E-D7105E2A0F11}" srcId="{BA42B8C7-0ECE-4B61-85F0-0BFC2271A1C3}" destId="{B1C0CDC7-42B5-4615-B024-C37463B13C82}" srcOrd="0" destOrd="0" parTransId="{2C46085F-8E44-4CE4-9933-BC6982193491}" sibTransId="{43C05FE0-A8F1-431D-A18E-FC5E2EC1A4BD}"/>
    <dgm:cxn modelId="{643D50E7-E1DE-4BE0-87D8-00EF42582ADB}" type="presOf" srcId="{CEAB87C5-A4C4-457E-9364-CDDEC7BA7F10}" destId="{BBBB1D00-DB29-4526-86AD-E32211C65EAB}" srcOrd="0" destOrd="2" presId="urn:microsoft.com/office/officeart/2005/8/layout/vList5"/>
    <dgm:cxn modelId="{F85A5F92-61D1-43C3-993B-B00ED5D512C4}" type="presOf" srcId="{997040A7-1771-4069-B39B-1286247D97CC}" destId="{C348CE23-EB5C-4F41-9B21-26C2E3BCCF1A}" srcOrd="0" destOrd="0" presId="urn:microsoft.com/office/officeart/2005/8/layout/vList5"/>
    <dgm:cxn modelId="{2F8147B0-7674-4D6A-BC25-2658FF222A53}" type="presParOf" srcId="{D6B84F69-384F-4728-8DB1-84E03C22191E}" destId="{796E63F1-C344-4481-A29C-C212BAB4D197}" srcOrd="0" destOrd="0" presId="urn:microsoft.com/office/officeart/2005/8/layout/vList5"/>
    <dgm:cxn modelId="{3F4CDFE4-EA66-47DF-8E77-349420098CF0}" type="presParOf" srcId="{796E63F1-C344-4481-A29C-C212BAB4D197}" destId="{D12DBB69-F90E-403C-A495-5F22D6BA7A3A}" srcOrd="0" destOrd="0" presId="urn:microsoft.com/office/officeart/2005/8/layout/vList5"/>
    <dgm:cxn modelId="{005F134F-9049-400C-A2B1-709069B47BFB}" type="presParOf" srcId="{796E63F1-C344-4481-A29C-C212BAB4D197}" destId="{7C5F91EF-DA48-48C8-9613-CE3A4D1F94ED}" srcOrd="1" destOrd="0" presId="urn:microsoft.com/office/officeart/2005/8/layout/vList5"/>
    <dgm:cxn modelId="{81174868-C742-4CE4-AA60-329B0893C028}" type="presParOf" srcId="{D6B84F69-384F-4728-8DB1-84E03C22191E}" destId="{257B4B85-0855-4A02-BBFC-8577708679E4}" srcOrd="1" destOrd="0" presId="urn:microsoft.com/office/officeart/2005/8/layout/vList5"/>
    <dgm:cxn modelId="{C5E97858-20E4-49A3-8903-030F29958A9F}" type="presParOf" srcId="{D6B84F69-384F-4728-8DB1-84E03C22191E}" destId="{1CD11D38-4ECC-4BE2-8B08-337390AB0A61}" srcOrd="2" destOrd="0" presId="urn:microsoft.com/office/officeart/2005/8/layout/vList5"/>
    <dgm:cxn modelId="{9A75D0AC-6EF5-426E-8203-72253D11FFDC}" type="presParOf" srcId="{1CD11D38-4ECC-4BE2-8B08-337390AB0A61}" destId="{9434E805-80E4-488E-8403-A8D1653C7705}" srcOrd="0" destOrd="0" presId="urn:microsoft.com/office/officeart/2005/8/layout/vList5"/>
    <dgm:cxn modelId="{84DB70F2-5193-432E-816B-D38D8A65189B}" type="presParOf" srcId="{1CD11D38-4ECC-4BE2-8B08-337390AB0A61}" destId="{BBBB1D00-DB29-4526-86AD-E32211C65EAB}" srcOrd="1" destOrd="0" presId="urn:microsoft.com/office/officeart/2005/8/layout/vList5"/>
    <dgm:cxn modelId="{9F79E19D-5456-4833-A412-B5585AD37966}" type="presParOf" srcId="{D6B84F69-384F-4728-8DB1-84E03C22191E}" destId="{9BC43F39-3568-46F2-9779-766596CAC8B2}" srcOrd="3" destOrd="0" presId="urn:microsoft.com/office/officeart/2005/8/layout/vList5"/>
    <dgm:cxn modelId="{C3D4F708-CFF8-40C6-99D4-C002372125A7}" type="presParOf" srcId="{D6B84F69-384F-4728-8DB1-84E03C22191E}" destId="{DF152D12-2395-462F-A4D7-8473E29E4B6E}" srcOrd="4" destOrd="0" presId="urn:microsoft.com/office/officeart/2005/8/layout/vList5"/>
    <dgm:cxn modelId="{E2638217-61E1-46CF-A3CB-D9329FCF115F}" type="presParOf" srcId="{DF152D12-2395-462F-A4D7-8473E29E4B6E}" destId="{FB9D9ADF-97FB-481B-8FAE-D63E3E845E77}" srcOrd="0" destOrd="0" presId="urn:microsoft.com/office/officeart/2005/8/layout/vList5"/>
    <dgm:cxn modelId="{1F6B4899-5C74-4221-96A0-5AD4ED777B55}" type="presParOf" srcId="{DF152D12-2395-462F-A4D7-8473E29E4B6E}" destId="{C348CE23-EB5C-4F41-9B21-26C2E3BCCF1A}" srcOrd="1" destOrd="0" presId="urn:microsoft.com/office/officeart/2005/8/layout/vList5"/>
    <dgm:cxn modelId="{0A3FCA54-F188-42A0-BE3A-4BB0F3D0EA0C}" type="presParOf" srcId="{D6B84F69-384F-4728-8DB1-84E03C22191E}" destId="{C3A60C5B-72FC-42CD-A0AA-190356DDF1E2}" srcOrd="5" destOrd="0" presId="urn:microsoft.com/office/officeart/2005/8/layout/vList5"/>
    <dgm:cxn modelId="{0060A4CD-AD5E-4EA0-97B9-1C4F4F1524C5}" type="presParOf" srcId="{D6B84F69-384F-4728-8DB1-84E03C22191E}" destId="{77FB5783-0C1E-46C1-8D03-D44B27654150}" srcOrd="6" destOrd="0" presId="urn:microsoft.com/office/officeart/2005/8/layout/vList5"/>
    <dgm:cxn modelId="{845F6CCE-157D-48B7-9A6A-FB2592FECAC7}" type="presParOf" srcId="{77FB5783-0C1E-46C1-8D03-D44B27654150}" destId="{B060186A-6220-4172-8A29-1AFD90CCCFF1}" srcOrd="0" destOrd="0" presId="urn:microsoft.com/office/officeart/2005/8/layout/vList5"/>
    <dgm:cxn modelId="{9E941884-54DA-444F-A9D4-34BA4648BEAB}" type="presParOf" srcId="{77FB5783-0C1E-46C1-8D03-D44B27654150}" destId="{D7F4BAC5-875B-407D-A6B3-3CC16258BD8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FCC7A2A-EBC9-47CF-A46D-F77B7713CC0B}" type="doc">
      <dgm:prSet loTypeId="urn:microsoft.com/office/officeart/2005/8/layout/architecture+Icon" loCatId="officeonline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24909B2C-A208-4C8F-9490-AE5F5388A315}">
      <dgm:prSet phldrT="[Text]"/>
      <dgm:spPr/>
      <dgm:t>
        <a:bodyPr/>
        <a:lstStyle/>
        <a:p>
          <a:r>
            <a:rPr lang="en-US" dirty="0" smtClean="0"/>
            <a:t>Physical hardware</a:t>
          </a:r>
          <a:endParaRPr lang="en-US" dirty="0"/>
        </a:p>
      </dgm:t>
    </dgm:pt>
    <dgm:pt modelId="{BAAE69AB-03D0-4563-A7BB-2A795ADA907D}" type="parTrans" cxnId="{1694F3F5-D182-4A52-844E-82CC8C315D7C}">
      <dgm:prSet/>
      <dgm:spPr/>
      <dgm:t>
        <a:bodyPr/>
        <a:lstStyle/>
        <a:p>
          <a:endParaRPr lang="en-US"/>
        </a:p>
      </dgm:t>
    </dgm:pt>
    <dgm:pt modelId="{0A896E10-3A1F-4047-B02B-23CC03B02628}" type="sibTrans" cxnId="{1694F3F5-D182-4A52-844E-82CC8C315D7C}">
      <dgm:prSet/>
      <dgm:spPr/>
      <dgm:t>
        <a:bodyPr/>
        <a:lstStyle/>
        <a:p>
          <a:endParaRPr lang="en-US"/>
        </a:p>
      </dgm:t>
    </dgm:pt>
    <dgm:pt modelId="{BD11E942-7C9B-4782-8AE6-49C0BC76E817}">
      <dgm:prSet phldrT="[Text]"/>
      <dgm:spPr/>
      <dgm:t>
        <a:bodyPr/>
        <a:lstStyle/>
        <a:p>
          <a:r>
            <a:rPr lang="en-US" dirty="0" smtClean="0"/>
            <a:t>Hypervisor (VMM)</a:t>
          </a:r>
          <a:endParaRPr lang="en-US" dirty="0"/>
        </a:p>
      </dgm:t>
    </dgm:pt>
    <dgm:pt modelId="{7375AA8C-DE55-4623-B415-BF0EFE65A9A7}" type="parTrans" cxnId="{A8A96772-2F48-4082-A4D3-644C560689E2}">
      <dgm:prSet/>
      <dgm:spPr/>
      <dgm:t>
        <a:bodyPr/>
        <a:lstStyle/>
        <a:p>
          <a:endParaRPr lang="en-US"/>
        </a:p>
      </dgm:t>
    </dgm:pt>
    <dgm:pt modelId="{920D5049-2643-486D-8F5B-D1239299F6DD}" type="sibTrans" cxnId="{A8A96772-2F48-4082-A4D3-644C560689E2}">
      <dgm:prSet/>
      <dgm:spPr/>
      <dgm:t>
        <a:bodyPr/>
        <a:lstStyle/>
        <a:p>
          <a:endParaRPr lang="en-US"/>
        </a:p>
      </dgm:t>
    </dgm:pt>
    <dgm:pt modelId="{CC4E600F-BB3B-431C-AFF0-13B54AAD424D}">
      <dgm:prSet phldrT="[Text]"/>
      <dgm:spPr/>
      <dgm:t>
        <a:bodyPr anchor="b"/>
        <a:lstStyle/>
        <a:p>
          <a:r>
            <a:rPr lang="en-US" dirty="0" smtClean="0"/>
            <a:t>VM1</a:t>
          </a:r>
          <a:endParaRPr lang="en-US" dirty="0"/>
        </a:p>
      </dgm:t>
    </dgm:pt>
    <dgm:pt modelId="{00D2AEC8-50C8-435B-8D2E-56284D64A90F}" type="parTrans" cxnId="{2B4927FE-637A-4F6B-AB0B-442E5379DC44}">
      <dgm:prSet/>
      <dgm:spPr/>
      <dgm:t>
        <a:bodyPr/>
        <a:lstStyle/>
        <a:p>
          <a:endParaRPr lang="en-US"/>
        </a:p>
      </dgm:t>
    </dgm:pt>
    <dgm:pt modelId="{8802002A-F005-43C4-87F9-03FF57550797}" type="sibTrans" cxnId="{2B4927FE-637A-4F6B-AB0B-442E5379DC44}">
      <dgm:prSet/>
      <dgm:spPr/>
      <dgm:t>
        <a:bodyPr/>
        <a:lstStyle/>
        <a:p>
          <a:endParaRPr lang="en-US"/>
        </a:p>
      </dgm:t>
    </dgm:pt>
    <dgm:pt modelId="{452B5E13-7297-4054-B860-F1B371E57F83}">
      <dgm:prSet phldrT="[Text]"/>
      <dgm:spPr/>
      <dgm:t>
        <a:bodyPr anchor="b"/>
        <a:lstStyle/>
        <a:p>
          <a:r>
            <a:rPr lang="en-US" dirty="0" smtClean="0"/>
            <a:t>VM2</a:t>
          </a:r>
          <a:endParaRPr lang="en-US" dirty="0"/>
        </a:p>
      </dgm:t>
    </dgm:pt>
    <dgm:pt modelId="{2E1DCBA1-6FCF-4391-B906-BAC01F6BF4FB}" type="parTrans" cxnId="{1E4572D1-9E6A-4D38-BAE5-97F5B8D25525}">
      <dgm:prSet/>
      <dgm:spPr/>
      <dgm:t>
        <a:bodyPr/>
        <a:lstStyle/>
        <a:p>
          <a:endParaRPr lang="en-US"/>
        </a:p>
      </dgm:t>
    </dgm:pt>
    <dgm:pt modelId="{2DE16EBE-DFC7-4EA4-8081-25028FDBAC81}" type="sibTrans" cxnId="{1E4572D1-9E6A-4D38-BAE5-97F5B8D25525}">
      <dgm:prSet/>
      <dgm:spPr/>
      <dgm:t>
        <a:bodyPr/>
        <a:lstStyle/>
        <a:p>
          <a:endParaRPr lang="en-US"/>
        </a:p>
      </dgm:t>
    </dgm:pt>
    <dgm:pt modelId="{9EC799C1-4186-4547-9D01-98B3C211954A}">
      <dgm:prSet phldrT="[Text]"/>
      <dgm:spPr/>
      <dgm:t>
        <a:bodyPr anchor="b"/>
        <a:lstStyle/>
        <a:p>
          <a:r>
            <a:rPr lang="en-US" dirty="0" smtClean="0"/>
            <a:t>VM3</a:t>
          </a:r>
          <a:endParaRPr lang="en-US" dirty="0"/>
        </a:p>
      </dgm:t>
    </dgm:pt>
    <dgm:pt modelId="{52BA6812-B165-43A9-9A3C-E850D68BAC1C}" type="parTrans" cxnId="{F4799AF7-F912-4F21-8474-4A2CDC3B3267}">
      <dgm:prSet/>
      <dgm:spPr/>
      <dgm:t>
        <a:bodyPr/>
        <a:lstStyle/>
        <a:p>
          <a:endParaRPr lang="en-US"/>
        </a:p>
      </dgm:t>
    </dgm:pt>
    <dgm:pt modelId="{C658685D-359C-4D37-91B6-8A3DDB0058B3}" type="sibTrans" cxnId="{F4799AF7-F912-4F21-8474-4A2CDC3B3267}">
      <dgm:prSet/>
      <dgm:spPr/>
      <dgm:t>
        <a:bodyPr/>
        <a:lstStyle/>
        <a:p>
          <a:endParaRPr lang="en-US"/>
        </a:p>
      </dgm:t>
    </dgm:pt>
    <dgm:pt modelId="{6E6677C3-F4FE-4FE4-8746-7FD771FEF0AB}" type="pres">
      <dgm:prSet presAssocID="{7FCC7A2A-EBC9-47CF-A46D-F77B7713CC0B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50D1DC65-C44C-4FF3-9C8B-8CA03F2E2742}" type="pres">
      <dgm:prSet presAssocID="{24909B2C-A208-4C8F-9490-AE5F5388A315}" presName="vertOne" presStyleCnt="0"/>
      <dgm:spPr/>
    </dgm:pt>
    <dgm:pt modelId="{ABD862A1-B7A1-4960-A9C4-63C7961DB9B8}" type="pres">
      <dgm:prSet presAssocID="{24909B2C-A208-4C8F-9490-AE5F5388A315}" presName="txOn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6BD79EF-FD7C-4933-9D2D-B8612B594B1C}" type="pres">
      <dgm:prSet presAssocID="{24909B2C-A208-4C8F-9490-AE5F5388A315}" presName="parTransOne" presStyleCnt="0"/>
      <dgm:spPr/>
    </dgm:pt>
    <dgm:pt modelId="{3FCD9497-3C26-44F5-9EE0-3A90725C8FC7}" type="pres">
      <dgm:prSet presAssocID="{24909B2C-A208-4C8F-9490-AE5F5388A315}" presName="horzOne" presStyleCnt="0"/>
      <dgm:spPr/>
    </dgm:pt>
    <dgm:pt modelId="{D641C0F0-DF9F-4C07-A956-58B67521ADDB}" type="pres">
      <dgm:prSet presAssocID="{BD11E942-7C9B-4782-8AE6-49C0BC76E817}" presName="vertTwo" presStyleCnt="0"/>
      <dgm:spPr/>
    </dgm:pt>
    <dgm:pt modelId="{836F18A3-41B6-4175-9721-3E1AF639E45A}" type="pres">
      <dgm:prSet presAssocID="{BD11E942-7C9B-4782-8AE6-49C0BC76E817}" presName="txTwo" presStyleLbl="node2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110C7B1-F5E1-498B-B293-08F31047DFAB}" type="pres">
      <dgm:prSet presAssocID="{BD11E942-7C9B-4782-8AE6-49C0BC76E817}" presName="parTransTwo" presStyleCnt="0"/>
      <dgm:spPr/>
    </dgm:pt>
    <dgm:pt modelId="{11A4DA14-5784-4FAD-BAB3-F43DCD471169}" type="pres">
      <dgm:prSet presAssocID="{BD11E942-7C9B-4782-8AE6-49C0BC76E817}" presName="horzTwo" presStyleCnt="0"/>
      <dgm:spPr/>
    </dgm:pt>
    <dgm:pt modelId="{EE1336D2-A152-41D4-A087-B2F81B7AEDA0}" type="pres">
      <dgm:prSet presAssocID="{CC4E600F-BB3B-431C-AFF0-13B54AAD424D}" presName="vertThree" presStyleCnt="0"/>
      <dgm:spPr/>
    </dgm:pt>
    <dgm:pt modelId="{5E06E024-7D70-4503-988C-0943F71353F7}" type="pres">
      <dgm:prSet presAssocID="{CC4E600F-BB3B-431C-AFF0-13B54AAD424D}" presName="txThree" presStyleLbl="node3" presStyleIdx="0" presStyleCnt="3" custScaleY="61159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CDF195A-B0F1-4309-AFC4-027364BE3E48}" type="pres">
      <dgm:prSet presAssocID="{CC4E600F-BB3B-431C-AFF0-13B54AAD424D}" presName="horzThree" presStyleCnt="0"/>
      <dgm:spPr/>
    </dgm:pt>
    <dgm:pt modelId="{0472097F-9BD0-44EB-B6C7-AECD6FE27127}" type="pres">
      <dgm:prSet presAssocID="{8802002A-F005-43C4-87F9-03FF57550797}" presName="sibSpaceThree" presStyleCnt="0"/>
      <dgm:spPr/>
    </dgm:pt>
    <dgm:pt modelId="{2FA40BB0-FD85-4B18-9650-95284C464E93}" type="pres">
      <dgm:prSet presAssocID="{452B5E13-7297-4054-B860-F1B371E57F83}" presName="vertThree" presStyleCnt="0"/>
      <dgm:spPr/>
    </dgm:pt>
    <dgm:pt modelId="{74E5BA43-3042-4A97-BC5B-B17246FFA776}" type="pres">
      <dgm:prSet presAssocID="{452B5E13-7297-4054-B860-F1B371E57F83}" presName="txThree" presStyleLbl="node3" presStyleIdx="1" presStyleCnt="3" custScaleY="61159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3AAF07B-3831-4012-AA48-F16CC27C40F5}" type="pres">
      <dgm:prSet presAssocID="{452B5E13-7297-4054-B860-F1B371E57F83}" presName="horzThree" presStyleCnt="0"/>
      <dgm:spPr/>
    </dgm:pt>
    <dgm:pt modelId="{24116721-9DF5-4055-A261-76231DAB4961}" type="pres">
      <dgm:prSet presAssocID="{2DE16EBE-DFC7-4EA4-8081-25028FDBAC81}" presName="sibSpaceThree" presStyleCnt="0"/>
      <dgm:spPr/>
    </dgm:pt>
    <dgm:pt modelId="{7053E954-49C1-4FC0-9E8D-A190C283E2B1}" type="pres">
      <dgm:prSet presAssocID="{9EC799C1-4186-4547-9D01-98B3C211954A}" presName="vertThree" presStyleCnt="0"/>
      <dgm:spPr/>
    </dgm:pt>
    <dgm:pt modelId="{0CA7B12A-5848-4F25-BEB7-B849CCABE893}" type="pres">
      <dgm:prSet presAssocID="{9EC799C1-4186-4547-9D01-98B3C211954A}" presName="txThree" presStyleLbl="node3" presStyleIdx="2" presStyleCnt="3" custScaleY="61159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28787AB-1CF7-4A76-97D6-225E1BCBF469}" type="pres">
      <dgm:prSet presAssocID="{9EC799C1-4186-4547-9D01-98B3C211954A}" presName="horzThree" presStyleCnt="0"/>
      <dgm:spPr/>
    </dgm:pt>
  </dgm:ptLst>
  <dgm:cxnLst>
    <dgm:cxn modelId="{B9A11227-2416-4298-BA94-352397412218}" type="presOf" srcId="{7FCC7A2A-EBC9-47CF-A46D-F77B7713CC0B}" destId="{6E6677C3-F4FE-4FE4-8746-7FD771FEF0AB}" srcOrd="0" destOrd="0" presId="urn:microsoft.com/office/officeart/2005/8/layout/architecture+Icon"/>
    <dgm:cxn modelId="{A8A96772-2F48-4082-A4D3-644C560689E2}" srcId="{24909B2C-A208-4C8F-9490-AE5F5388A315}" destId="{BD11E942-7C9B-4782-8AE6-49C0BC76E817}" srcOrd="0" destOrd="0" parTransId="{7375AA8C-DE55-4623-B415-BF0EFE65A9A7}" sibTransId="{920D5049-2643-486D-8F5B-D1239299F6DD}"/>
    <dgm:cxn modelId="{F4799AF7-F912-4F21-8474-4A2CDC3B3267}" srcId="{BD11E942-7C9B-4782-8AE6-49C0BC76E817}" destId="{9EC799C1-4186-4547-9D01-98B3C211954A}" srcOrd="2" destOrd="0" parTransId="{52BA6812-B165-43A9-9A3C-E850D68BAC1C}" sibTransId="{C658685D-359C-4D37-91B6-8A3DDB0058B3}"/>
    <dgm:cxn modelId="{84A70F41-6F8C-4E90-857A-D88A926F1728}" type="presOf" srcId="{9EC799C1-4186-4547-9D01-98B3C211954A}" destId="{0CA7B12A-5848-4F25-BEB7-B849CCABE893}" srcOrd="0" destOrd="0" presId="urn:microsoft.com/office/officeart/2005/8/layout/architecture+Icon"/>
    <dgm:cxn modelId="{2B4927FE-637A-4F6B-AB0B-442E5379DC44}" srcId="{BD11E942-7C9B-4782-8AE6-49C0BC76E817}" destId="{CC4E600F-BB3B-431C-AFF0-13B54AAD424D}" srcOrd="0" destOrd="0" parTransId="{00D2AEC8-50C8-435B-8D2E-56284D64A90F}" sibTransId="{8802002A-F005-43C4-87F9-03FF57550797}"/>
    <dgm:cxn modelId="{C67F4689-80C3-441F-99C4-7A41831EC833}" type="presOf" srcId="{24909B2C-A208-4C8F-9490-AE5F5388A315}" destId="{ABD862A1-B7A1-4960-A9C4-63C7961DB9B8}" srcOrd="0" destOrd="0" presId="urn:microsoft.com/office/officeart/2005/8/layout/architecture+Icon"/>
    <dgm:cxn modelId="{1E4572D1-9E6A-4D38-BAE5-97F5B8D25525}" srcId="{BD11E942-7C9B-4782-8AE6-49C0BC76E817}" destId="{452B5E13-7297-4054-B860-F1B371E57F83}" srcOrd="1" destOrd="0" parTransId="{2E1DCBA1-6FCF-4391-B906-BAC01F6BF4FB}" sibTransId="{2DE16EBE-DFC7-4EA4-8081-25028FDBAC81}"/>
    <dgm:cxn modelId="{80D679BD-C3FE-4175-997A-463AC74324EB}" type="presOf" srcId="{452B5E13-7297-4054-B860-F1B371E57F83}" destId="{74E5BA43-3042-4A97-BC5B-B17246FFA776}" srcOrd="0" destOrd="0" presId="urn:microsoft.com/office/officeart/2005/8/layout/architecture+Icon"/>
    <dgm:cxn modelId="{1CDF8D63-D32D-414A-BE39-CC9336F885ED}" type="presOf" srcId="{CC4E600F-BB3B-431C-AFF0-13B54AAD424D}" destId="{5E06E024-7D70-4503-988C-0943F71353F7}" srcOrd="0" destOrd="0" presId="urn:microsoft.com/office/officeart/2005/8/layout/architecture+Icon"/>
    <dgm:cxn modelId="{81D3C9C5-82C2-45B1-8547-FA2A0A94918E}" type="presOf" srcId="{BD11E942-7C9B-4782-8AE6-49C0BC76E817}" destId="{836F18A3-41B6-4175-9721-3E1AF639E45A}" srcOrd="0" destOrd="0" presId="urn:microsoft.com/office/officeart/2005/8/layout/architecture+Icon"/>
    <dgm:cxn modelId="{1694F3F5-D182-4A52-844E-82CC8C315D7C}" srcId="{7FCC7A2A-EBC9-47CF-A46D-F77B7713CC0B}" destId="{24909B2C-A208-4C8F-9490-AE5F5388A315}" srcOrd="0" destOrd="0" parTransId="{BAAE69AB-03D0-4563-A7BB-2A795ADA907D}" sibTransId="{0A896E10-3A1F-4047-B02B-23CC03B02628}"/>
    <dgm:cxn modelId="{A8EF932B-8347-49C0-82FC-F81226E08C46}" type="presParOf" srcId="{6E6677C3-F4FE-4FE4-8746-7FD771FEF0AB}" destId="{50D1DC65-C44C-4FF3-9C8B-8CA03F2E2742}" srcOrd="0" destOrd="0" presId="urn:microsoft.com/office/officeart/2005/8/layout/architecture+Icon"/>
    <dgm:cxn modelId="{D24444AF-F615-441F-8250-A36FF066AB54}" type="presParOf" srcId="{50D1DC65-C44C-4FF3-9C8B-8CA03F2E2742}" destId="{ABD862A1-B7A1-4960-A9C4-63C7961DB9B8}" srcOrd="0" destOrd="0" presId="urn:microsoft.com/office/officeart/2005/8/layout/architecture+Icon"/>
    <dgm:cxn modelId="{966D7F38-4AC0-4842-B250-CA235782D666}" type="presParOf" srcId="{50D1DC65-C44C-4FF3-9C8B-8CA03F2E2742}" destId="{16BD79EF-FD7C-4933-9D2D-B8612B594B1C}" srcOrd="1" destOrd="0" presId="urn:microsoft.com/office/officeart/2005/8/layout/architecture+Icon"/>
    <dgm:cxn modelId="{6486B41F-136C-44B6-BE77-29E6E55D38E6}" type="presParOf" srcId="{50D1DC65-C44C-4FF3-9C8B-8CA03F2E2742}" destId="{3FCD9497-3C26-44F5-9EE0-3A90725C8FC7}" srcOrd="2" destOrd="0" presId="urn:microsoft.com/office/officeart/2005/8/layout/architecture+Icon"/>
    <dgm:cxn modelId="{B1D7AE05-3C7D-4978-B1B9-CBFDE3737F43}" type="presParOf" srcId="{3FCD9497-3C26-44F5-9EE0-3A90725C8FC7}" destId="{D641C0F0-DF9F-4C07-A956-58B67521ADDB}" srcOrd="0" destOrd="0" presId="urn:microsoft.com/office/officeart/2005/8/layout/architecture+Icon"/>
    <dgm:cxn modelId="{AA260407-FF9A-4D82-8868-05DBF10A5E42}" type="presParOf" srcId="{D641C0F0-DF9F-4C07-A956-58B67521ADDB}" destId="{836F18A3-41B6-4175-9721-3E1AF639E45A}" srcOrd="0" destOrd="0" presId="urn:microsoft.com/office/officeart/2005/8/layout/architecture+Icon"/>
    <dgm:cxn modelId="{2EF92E4B-246D-4698-B0E9-CCAE6E03BE7D}" type="presParOf" srcId="{D641C0F0-DF9F-4C07-A956-58B67521ADDB}" destId="{6110C7B1-F5E1-498B-B293-08F31047DFAB}" srcOrd="1" destOrd="0" presId="urn:microsoft.com/office/officeart/2005/8/layout/architecture+Icon"/>
    <dgm:cxn modelId="{2FB88FDE-3A9E-4BF6-8DC7-E5D847542180}" type="presParOf" srcId="{D641C0F0-DF9F-4C07-A956-58B67521ADDB}" destId="{11A4DA14-5784-4FAD-BAB3-F43DCD471169}" srcOrd="2" destOrd="0" presId="urn:microsoft.com/office/officeart/2005/8/layout/architecture+Icon"/>
    <dgm:cxn modelId="{0270E744-5422-412E-ABD9-30821C8F4F56}" type="presParOf" srcId="{11A4DA14-5784-4FAD-BAB3-F43DCD471169}" destId="{EE1336D2-A152-41D4-A087-B2F81B7AEDA0}" srcOrd="0" destOrd="0" presId="urn:microsoft.com/office/officeart/2005/8/layout/architecture+Icon"/>
    <dgm:cxn modelId="{DE719F4E-8450-480F-93FB-206EB568D947}" type="presParOf" srcId="{EE1336D2-A152-41D4-A087-B2F81B7AEDA0}" destId="{5E06E024-7D70-4503-988C-0943F71353F7}" srcOrd="0" destOrd="0" presId="urn:microsoft.com/office/officeart/2005/8/layout/architecture+Icon"/>
    <dgm:cxn modelId="{BD0523D2-31BA-4853-97D3-05A6655A7A07}" type="presParOf" srcId="{EE1336D2-A152-41D4-A087-B2F81B7AEDA0}" destId="{8CDF195A-B0F1-4309-AFC4-027364BE3E48}" srcOrd="1" destOrd="0" presId="urn:microsoft.com/office/officeart/2005/8/layout/architecture+Icon"/>
    <dgm:cxn modelId="{AB6291F2-AA24-4F94-81EB-B42DC02815B5}" type="presParOf" srcId="{11A4DA14-5784-4FAD-BAB3-F43DCD471169}" destId="{0472097F-9BD0-44EB-B6C7-AECD6FE27127}" srcOrd="1" destOrd="0" presId="urn:microsoft.com/office/officeart/2005/8/layout/architecture+Icon"/>
    <dgm:cxn modelId="{F47E1350-DDE6-42CD-A6E5-29606AF1CCDE}" type="presParOf" srcId="{11A4DA14-5784-4FAD-BAB3-F43DCD471169}" destId="{2FA40BB0-FD85-4B18-9650-95284C464E93}" srcOrd="2" destOrd="0" presId="urn:microsoft.com/office/officeart/2005/8/layout/architecture+Icon"/>
    <dgm:cxn modelId="{50B5A77A-8A6C-4016-BEA8-A08E92515B66}" type="presParOf" srcId="{2FA40BB0-FD85-4B18-9650-95284C464E93}" destId="{74E5BA43-3042-4A97-BC5B-B17246FFA776}" srcOrd="0" destOrd="0" presId="urn:microsoft.com/office/officeart/2005/8/layout/architecture+Icon"/>
    <dgm:cxn modelId="{A08868CA-1384-4DE2-9FA7-5DF4311B9A2B}" type="presParOf" srcId="{2FA40BB0-FD85-4B18-9650-95284C464E93}" destId="{23AAF07B-3831-4012-AA48-F16CC27C40F5}" srcOrd="1" destOrd="0" presId="urn:microsoft.com/office/officeart/2005/8/layout/architecture+Icon"/>
    <dgm:cxn modelId="{19EE17F6-C790-4532-945C-641B31CAD888}" type="presParOf" srcId="{11A4DA14-5784-4FAD-BAB3-F43DCD471169}" destId="{24116721-9DF5-4055-A261-76231DAB4961}" srcOrd="3" destOrd="0" presId="urn:microsoft.com/office/officeart/2005/8/layout/architecture+Icon"/>
    <dgm:cxn modelId="{A1AC189C-5E73-4D56-BE96-E7DC244903E8}" type="presParOf" srcId="{11A4DA14-5784-4FAD-BAB3-F43DCD471169}" destId="{7053E954-49C1-4FC0-9E8D-A190C283E2B1}" srcOrd="4" destOrd="0" presId="urn:microsoft.com/office/officeart/2005/8/layout/architecture+Icon"/>
    <dgm:cxn modelId="{557E2CA1-B845-4784-BCD5-F35435F7DFE0}" type="presParOf" srcId="{7053E954-49C1-4FC0-9E8D-A190C283E2B1}" destId="{0CA7B12A-5848-4F25-BEB7-B849CCABE893}" srcOrd="0" destOrd="0" presId="urn:microsoft.com/office/officeart/2005/8/layout/architecture+Icon"/>
    <dgm:cxn modelId="{9A30C418-2A8A-47EE-91C1-4431E429A5AC}" type="presParOf" srcId="{7053E954-49C1-4FC0-9E8D-A190C283E2B1}" destId="{128787AB-1CF7-4A76-97D6-225E1BCBF469}" srcOrd="1" destOrd="0" presId="urn:microsoft.com/office/officeart/2005/8/layout/architecture+Icon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07670F-D6C8-47BF-A8BB-B0BF6F596E22}">
      <dsp:nvSpPr>
        <dsp:cNvPr id="0" name=""/>
        <dsp:cNvSpPr/>
      </dsp:nvSpPr>
      <dsp:spPr>
        <a:xfrm rot="5400000">
          <a:off x="5007777" y="-2769807"/>
          <a:ext cx="536153" cy="6212109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smtClean="0"/>
            <a:t>Consumer can provision the computing resource without provider’s intervention</a:t>
          </a:r>
          <a:endParaRPr lang="en-US" sz="1400" kern="1200"/>
        </a:p>
      </dsp:txBody>
      <dsp:txXfrm rot="-5400000">
        <a:off x="2169800" y="94343"/>
        <a:ext cx="6185936" cy="483807"/>
      </dsp:txXfrm>
    </dsp:sp>
    <dsp:sp modelId="{940D1B2C-ACE2-433B-B98E-29C657F5AE5F}">
      <dsp:nvSpPr>
        <dsp:cNvPr id="0" name=""/>
        <dsp:cNvSpPr/>
      </dsp:nvSpPr>
      <dsp:spPr>
        <a:xfrm>
          <a:off x="91" y="1151"/>
          <a:ext cx="2169707" cy="670191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smtClean="0"/>
            <a:t>On Demand and Self-Service</a:t>
          </a:r>
          <a:endParaRPr lang="en-US" sz="1900" kern="1200"/>
        </a:p>
      </dsp:txBody>
      <dsp:txXfrm>
        <a:off x="32807" y="33867"/>
        <a:ext cx="2104275" cy="604759"/>
      </dsp:txXfrm>
    </dsp:sp>
    <dsp:sp modelId="{AC1C38B8-FBE6-4EDF-BE59-293C4C4673D4}">
      <dsp:nvSpPr>
        <dsp:cNvPr id="0" name=""/>
        <dsp:cNvSpPr/>
      </dsp:nvSpPr>
      <dsp:spPr>
        <a:xfrm rot="5400000">
          <a:off x="5007777" y="-2066106"/>
          <a:ext cx="536153" cy="6212109"/>
        </a:xfrm>
        <a:prstGeom prst="round2Same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smtClean="0"/>
            <a:t>Resource can be accessed through network on heterogeneous platforms</a:t>
          </a:r>
          <a:endParaRPr lang="en-US" sz="1400" kern="120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smtClean="0"/>
            <a:t>Location independent access</a:t>
          </a:r>
          <a:endParaRPr lang="en-US" sz="1400" kern="1200"/>
        </a:p>
      </dsp:txBody>
      <dsp:txXfrm rot="-5400000">
        <a:off x="2169800" y="798044"/>
        <a:ext cx="6185936" cy="483807"/>
      </dsp:txXfrm>
    </dsp:sp>
    <dsp:sp modelId="{0B00403F-B441-4195-94F6-4CAF6A7137BB}">
      <dsp:nvSpPr>
        <dsp:cNvPr id="0" name=""/>
        <dsp:cNvSpPr/>
      </dsp:nvSpPr>
      <dsp:spPr>
        <a:xfrm>
          <a:off x="91" y="704852"/>
          <a:ext cx="2169707" cy="670191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smtClean="0"/>
            <a:t>Ubiquitous Access</a:t>
          </a:r>
          <a:endParaRPr lang="en-US" sz="1900" kern="1200"/>
        </a:p>
      </dsp:txBody>
      <dsp:txXfrm>
        <a:off x="32807" y="737568"/>
        <a:ext cx="2104275" cy="604759"/>
      </dsp:txXfrm>
    </dsp:sp>
    <dsp:sp modelId="{9666BD5B-1357-48D8-9F5F-5FE154146C93}">
      <dsp:nvSpPr>
        <dsp:cNvPr id="0" name=""/>
        <dsp:cNvSpPr/>
      </dsp:nvSpPr>
      <dsp:spPr>
        <a:xfrm rot="5400000">
          <a:off x="5007777" y="-1362405"/>
          <a:ext cx="536153" cy="6212109"/>
        </a:xfrm>
        <a:prstGeom prst="round2Same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smtClean="0"/>
            <a:t>Internally resource needs to be pooled and shared among consumers</a:t>
          </a:r>
          <a:endParaRPr lang="en-US" sz="1400" kern="1200"/>
        </a:p>
      </dsp:txBody>
      <dsp:txXfrm rot="-5400000">
        <a:off x="2169800" y="1501745"/>
        <a:ext cx="6185936" cy="483807"/>
      </dsp:txXfrm>
    </dsp:sp>
    <dsp:sp modelId="{80ED640A-0F5E-4BE3-95CA-DA8DD5FB78DA}">
      <dsp:nvSpPr>
        <dsp:cNvPr id="0" name=""/>
        <dsp:cNvSpPr/>
      </dsp:nvSpPr>
      <dsp:spPr>
        <a:xfrm>
          <a:off x="91" y="1408553"/>
          <a:ext cx="2169707" cy="670191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smtClean="0"/>
            <a:t>Resource Pooling</a:t>
          </a:r>
          <a:endParaRPr lang="en-US" sz="1900" kern="1200"/>
        </a:p>
      </dsp:txBody>
      <dsp:txXfrm>
        <a:off x="32807" y="1441269"/>
        <a:ext cx="2104275" cy="604759"/>
      </dsp:txXfrm>
    </dsp:sp>
    <dsp:sp modelId="{B0DE0264-FDA3-404C-88C3-0E901A03F235}">
      <dsp:nvSpPr>
        <dsp:cNvPr id="0" name=""/>
        <dsp:cNvSpPr/>
      </dsp:nvSpPr>
      <dsp:spPr>
        <a:xfrm rot="5400000">
          <a:off x="5007777" y="-658704"/>
          <a:ext cx="536153" cy="6212109"/>
        </a:xfrm>
        <a:prstGeom prst="round2Same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smtClean="0"/>
            <a:t>Rapid and elastic scale up/down of resource</a:t>
          </a:r>
          <a:endParaRPr lang="en-US" sz="1400" kern="1200"/>
        </a:p>
      </dsp:txBody>
      <dsp:txXfrm rot="-5400000">
        <a:off x="2169800" y="2205446"/>
        <a:ext cx="6185936" cy="483807"/>
      </dsp:txXfrm>
    </dsp:sp>
    <dsp:sp modelId="{EE6DACEB-85B1-4C26-8E95-FFF414FC0033}">
      <dsp:nvSpPr>
        <dsp:cNvPr id="0" name=""/>
        <dsp:cNvSpPr/>
      </dsp:nvSpPr>
      <dsp:spPr>
        <a:xfrm>
          <a:off x="91" y="2112254"/>
          <a:ext cx="2169707" cy="670191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smtClean="0"/>
            <a:t>Elasticity</a:t>
          </a:r>
          <a:endParaRPr lang="en-US" sz="1900" kern="1200"/>
        </a:p>
      </dsp:txBody>
      <dsp:txXfrm>
        <a:off x="32807" y="2144970"/>
        <a:ext cx="2104275" cy="604759"/>
      </dsp:txXfrm>
    </dsp:sp>
    <dsp:sp modelId="{8BF34EB3-A71D-4853-9FBB-F41467E94C28}">
      <dsp:nvSpPr>
        <dsp:cNvPr id="0" name=""/>
        <dsp:cNvSpPr/>
      </dsp:nvSpPr>
      <dsp:spPr>
        <a:xfrm rot="5400000">
          <a:off x="5007777" y="44996"/>
          <a:ext cx="536153" cy="6212109"/>
        </a:xfrm>
        <a:prstGeom prst="round2SameRect">
          <a:avLst/>
        </a:prstGeom>
        <a:solidFill>
          <a:schemeClr val="accent6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smtClean="0"/>
            <a:t>Monitoring and measuring of service</a:t>
          </a:r>
          <a:endParaRPr lang="en-US" sz="1400" kern="1200"/>
        </a:p>
      </dsp:txBody>
      <dsp:txXfrm rot="-5400000">
        <a:off x="2169800" y="2909147"/>
        <a:ext cx="6185936" cy="483807"/>
      </dsp:txXfrm>
    </dsp:sp>
    <dsp:sp modelId="{3B37576A-EACF-4927-A1C3-6117F62BF5FD}">
      <dsp:nvSpPr>
        <dsp:cNvPr id="0" name=""/>
        <dsp:cNvSpPr/>
      </dsp:nvSpPr>
      <dsp:spPr>
        <a:xfrm>
          <a:off x="91" y="2815956"/>
          <a:ext cx="2169707" cy="670191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smtClean="0"/>
            <a:t>Measured Service</a:t>
          </a:r>
          <a:endParaRPr lang="en-US" sz="1900" kern="1200"/>
        </a:p>
      </dsp:txBody>
      <dsp:txXfrm>
        <a:off x="32807" y="2848672"/>
        <a:ext cx="2104275" cy="604759"/>
      </dsp:txXfrm>
    </dsp:sp>
    <dsp:sp modelId="{30669E3C-8107-4773-A401-987613B3BCB3}">
      <dsp:nvSpPr>
        <dsp:cNvPr id="0" name=""/>
        <dsp:cNvSpPr/>
      </dsp:nvSpPr>
      <dsp:spPr>
        <a:xfrm rot="5400000">
          <a:off x="5007777" y="748698"/>
          <a:ext cx="536153" cy="6212109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smtClean="0"/>
            <a:t>Single application to support distinct class of users</a:t>
          </a:r>
          <a:endParaRPr lang="en-US" sz="1400" kern="120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smtClean="0"/>
            <a:t>Each class has its own dataset and access rights</a:t>
          </a:r>
          <a:endParaRPr lang="en-US" sz="1400" kern="1200"/>
        </a:p>
      </dsp:txBody>
      <dsp:txXfrm rot="-5400000">
        <a:off x="2169800" y="3612849"/>
        <a:ext cx="6185936" cy="483807"/>
      </dsp:txXfrm>
    </dsp:sp>
    <dsp:sp modelId="{C5E91D70-30C1-484C-A8D4-19A8D9C9F3E5}">
      <dsp:nvSpPr>
        <dsp:cNvPr id="0" name=""/>
        <dsp:cNvSpPr/>
      </dsp:nvSpPr>
      <dsp:spPr>
        <a:xfrm>
          <a:off x="91" y="3519657"/>
          <a:ext cx="2169707" cy="670191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smtClean="0"/>
            <a:t>Multi-tenancy</a:t>
          </a:r>
          <a:endParaRPr lang="en-US" sz="1900" kern="1200"/>
        </a:p>
      </dsp:txBody>
      <dsp:txXfrm>
        <a:off x="32807" y="3552373"/>
        <a:ext cx="2104275" cy="60475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CD8BE8-0852-4380-B10F-BDBDDD163B33}">
      <dsp:nvSpPr>
        <dsp:cNvPr id="0" name=""/>
        <dsp:cNvSpPr/>
      </dsp:nvSpPr>
      <dsp:spPr>
        <a:xfrm>
          <a:off x="0" y="117148"/>
          <a:ext cx="2895600" cy="971439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68580" rIns="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Consumer can provision the computing resource without provider’s intervention</a:t>
          </a:r>
          <a:endParaRPr lang="en-US" sz="1800" kern="1200" dirty="0"/>
        </a:p>
      </dsp:txBody>
      <dsp:txXfrm>
        <a:off x="47422" y="164570"/>
        <a:ext cx="2800756" cy="876595"/>
      </dsp:txXfrm>
    </dsp:sp>
    <dsp:sp modelId="{041151A9-AE35-40D6-88D1-0EF730BED3AD}">
      <dsp:nvSpPr>
        <dsp:cNvPr id="0" name=""/>
        <dsp:cNvSpPr/>
      </dsp:nvSpPr>
      <dsp:spPr>
        <a:xfrm>
          <a:off x="0" y="1246498"/>
          <a:ext cx="2895600" cy="676292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68580" rIns="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smtClean="0"/>
            <a:t>Resource can be accessed through network</a:t>
          </a:r>
          <a:endParaRPr lang="en-US" sz="1800" kern="1200"/>
        </a:p>
      </dsp:txBody>
      <dsp:txXfrm>
        <a:off x="33014" y="1279512"/>
        <a:ext cx="2829572" cy="610264"/>
      </dsp:txXfrm>
    </dsp:sp>
    <dsp:sp modelId="{73A7BECD-F9F4-43E4-8969-6B3BAB67BC43}">
      <dsp:nvSpPr>
        <dsp:cNvPr id="0" name=""/>
        <dsp:cNvSpPr/>
      </dsp:nvSpPr>
      <dsp:spPr>
        <a:xfrm>
          <a:off x="0" y="2182502"/>
          <a:ext cx="2895600" cy="900141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68580" rIns="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smtClean="0"/>
            <a:t>Internally resource needs to be pooled and shared among consumers</a:t>
          </a:r>
          <a:endParaRPr lang="en-US" sz="1800" kern="1200"/>
        </a:p>
      </dsp:txBody>
      <dsp:txXfrm>
        <a:off x="43941" y="2226443"/>
        <a:ext cx="2807718" cy="812259"/>
      </dsp:txXfrm>
    </dsp:sp>
    <dsp:sp modelId="{60DD3483-DB2A-4446-B5B8-71EDA1B1FAB6}">
      <dsp:nvSpPr>
        <dsp:cNvPr id="0" name=""/>
        <dsp:cNvSpPr/>
      </dsp:nvSpPr>
      <dsp:spPr>
        <a:xfrm>
          <a:off x="0" y="3355030"/>
          <a:ext cx="2895600" cy="560377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68580" rIns="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smtClean="0"/>
            <a:t>Rapid and elastic scale up/down of resource</a:t>
          </a:r>
          <a:endParaRPr lang="en-US" sz="1800" kern="1200"/>
        </a:p>
      </dsp:txBody>
      <dsp:txXfrm>
        <a:off x="27355" y="3382385"/>
        <a:ext cx="2840890" cy="505667"/>
      </dsp:txXfrm>
    </dsp:sp>
    <dsp:sp modelId="{EDDB9D6C-7B0A-4921-BE38-823E140FCF2A}">
      <dsp:nvSpPr>
        <dsp:cNvPr id="0" name=""/>
        <dsp:cNvSpPr/>
      </dsp:nvSpPr>
      <dsp:spPr>
        <a:xfrm>
          <a:off x="0" y="4175297"/>
          <a:ext cx="2895600" cy="508105"/>
        </a:xfrm>
        <a:prstGeom prst="round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68580" rIns="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smtClean="0"/>
            <a:t>Monitoring and measuring of service </a:t>
          </a:r>
          <a:endParaRPr lang="en-US" sz="1800" kern="1200"/>
        </a:p>
      </dsp:txBody>
      <dsp:txXfrm>
        <a:off x="24804" y="4200101"/>
        <a:ext cx="2845992" cy="45849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19D3C7-2366-4B52-8508-FB06F86CA4EA}">
      <dsp:nvSpPr>
        <dsp:cNvPr id="0" name=""/>
        <dsp:cNvSpPr/>
      </dsp:nvSpPr>
      <dsp:spPr>
        <a:xfrm>
          <a:off x="142012" y="0"/>
          <a:ext cx="1784188" cy="557009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 fov="0">
            <a:rot lat="0" lon="0" rev="0"/>
          </a:camera>
          <a:lightRig rig="threePt" dir="t">
            <a:rot lat="0" lon="0" rev="1800000"/>
          </a:lightRig>
        </a:scene3d>
        <a:sp3d prstMaterial="matte">
          <a:bevelT h="200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On demand</a:t>
          </a:r>
          <a:endParaRPr lang="en-US" sz="2200" kern="1200" dirty="0"/>
        </a:p>
      </dsp:txBody>
      <dsp:txXfrm>
        <a:off x="142012" y="0"/>
        <a:ext cx="1784188" cy="557009"/>
      </dsp:txXfrm>
    </dsp:sp>
    <dsp:sp modelId="{C52128F8-16CF-4B57-9E4A-071FBB72F805}">
      <dsp:nvSpPr>
        <dsp:cNvPr id="0" name=""/>
        <dsp:cNvSpPr/>
      </dsp:nvSpPr>
      <dsp:spPr>
        <a:xfrm>
          <a:off x="86631" y="753679"/>
          <a:ext cx="3581366" cy="63780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 fov="0">
            <a:rot lat="0" lon="0" rev="0"/>
          </a:camera>
          <a:lightRig rig="threePt" dir="t">
            <a:rot lat="0" lon="0" rev="1800000"/>
          </a:lightRig>
        </a:scene3d>
        <a:sp3d prstMaterial="matte">
          <a:bevelT h="200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Self-serviced &amp; personalized</a:t>
          </a:r>
          <a:endParaRPr lang="en-US" sz="2200" kern="1200" dirty="0"/>
        </a:p>
      </dsp:txBody>
      <dsp:txXfrm>
        <a:off x="86631" y="753679"/>
        <a:ext cx="3581366" cy="637801"/>
      </dsp:txXfrm>
    </dsp:sp>
    <dsp:sp modelId="{001011BA-10D1-42F0-B6AE-D9F11D41E43E}">
      <dsp:nvSpPr>
        <dsp:cNvPr id="0" name=""/>
        <dsp:cNvSpPr/>
      </dsp:nvSpPr>
      <dsp:spPr>
        <a:xfrm>
          <a:off x="76194" y="1530525"/>
          <a:ext cx="4700980" cy="622953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 fov="0">
            <a:rot lat="0" lon="0" rev="0"/>
          </a:camera>
          <a:lightRig rig="threePt" dir="t">
            <a:rot lat="0" lon="0" rev="1800000"/>
          </a:lightRig>
        </a:scene3d>
        <a:sp3d prstMaterial="matte">
          <a:bevelT h="200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Always available through any client platform</a:t>
          </a:r>
          <a:endParaRPr lang="en-US" sz="2200" kern="1200" dirty="0"/>
        </a:p>
      </dsp:txBody>
      <dsp:txXfrm>
        <a:off x="76194" y="1530525"/>
        <a:ext cx="4700980" cy="622953"/>
      </dsp:txXfrm>
    </dsp:sp>
    <dsp:sp modelId="{996DBC21-45D1-41F1-BCAD-BBA10BD022FF}">
      <dsp:nvSpPr>
        <dsp:cNvPr id="0" name=""/>
        <dsp:cNvSpPr/>
      </dsp:nvSpPr>
      <dsp:spPr>
        <a:xfrm>
          <a:off x="76470" y="3067875"/>
          <a:ext cx="3171163" cy="780939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 fov="0">
            <a:rot lat="0" lon="0" rev="0"/>
          </a:camera>
          <a:lightRig rig="threePt" dir="t">
            <a:rot lat="0" lon="0" rev="1800000"/>
          </a:lightRig>
        </a:scene3d>
        <a:sp3d prstMaterial="matte">
          <a:bevelT h="200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Multi-tenancy (better resource consumption)</a:t>
          </a:r>
          <a:endParaRPr lang="en-US" sz="2200" kern="1200" dirty="0"/>
        </a:p>
      </dsp:txBody>
      <dsp:txXfrm>
        <a:off x="76470" y="3067875"/>
        <a:ext cx="3171163" cy="780939"/>
      </dsp:txXfrm>
    </dsp:sp>
    <dsp:sp modelId="{D4BEF1DF-2219-491C-94BC-4DFB38527196}">
      <dsp:nvSpPr>
        <dsp:cNvPr id="0" name=""/>
        <dsp:cNvSpPr/>
      </dsp:nvSpPr>
      <dsp:spPr>
        <a:xfrm>
          <a:off x="76470" y="2332116"/>
          <a:ext cx="1962607" cy="593117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 fov="0">
            <a:rot lat="0" lon="0" rev="0"/>
          </a:camera>
          <a:lightRig rig="threePt" dir="t">
            <a:rot lat="0" lon="0" rev="1800000"/>
          </a:lightRig>
        </a:scene3d>
        <a:sp3d prstMaterial="matte">
          <a:bevelT h="200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Rapid scaling </a:t>
          </a:r>
          <a:endParaRPr lang="en-US" sz="2200" kern="1200" dirty="0"/>
        </a:p>
      </dsp:txBody>
      <dsp:txXfrm>
        <a:off x="76470" y="2332116"/>
        <a:ext cx="1962607" cy="593117"/>
      </dsp:txXfrm>
    </dsp:sp>
    <dsp:sp modelId="{DD72DC9A-5EB5-4EBE-B821-7DBF5D6E7D7C}">
      <dsp:nvSpPr>
        <dsp:cNvPr id="0" name=""/>
        <dsp:cNvSpPr/>
      </dsp:nvSpPr>
      <dsp:spPr>
        <a:xfrm>
          <a:off x="0" y="3934272"/>
          <a:ext cx="3870119" cy="657605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 fov="0">
            <a:rot lat="0" lon="0" rev="0"/>
          </a:camera>
          <a:lightRig rig="threePt" dir="t">
            <a:rot lat="0" lon="0" rev="1800000"/>
          </a:lightRig>
        </a:scene3d>
        <a:sp3d prstMaterial="matte">
          <a:bevelT h="200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Affordable mode of payment</a:t>
          </a:r>
          <a:endParaRPr lang="en-US" sz="2200" kern="1200" dirty="0"/>
        </a:p>
      </dsp:txBody>
      <dsp:txXfrm>
        <a:off x="0" y="3934272"/>
        <a:ext cx="3870119" cy="657605"/>
      </dsp:txXfrm>
    </dsp:sp>
    <dsp:sp modelId="{A490C69D-0E0E-4E98-B68A-97BD1008C620}">
      <dsp:nvSpPr>
        <dsp:cNvPr id="0" name=""/>
        <dsp:cNvSpPr/>
      </dsp:nvSpPr>
      <dsp:spPr>
        <a:xfrm>
          <a:off x="4055363" y="0"/>
          <a:ext cx="1784188" cy="76260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 fov="0">
            <a:rot lat="0" lon="0" rev="0"/>
          </a:camera>
          <a:lightRig rig="threePt" dir="t">
            <a:rot lat="0" lon="0" rev="1800000"/>
          </a:lightRig>
        </a:scene3d>
        <a:sp3d prstMaterial="matte">
          <a:bevelT h="200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Continuous adaptation</a:t>
          </a:r>
          <a:endParaRPr lang="en-US" sz="2200" kern="1200" dirty="0"/>
        </a:p>
      </dsp:txBody>
      <dsp:txXfrm>
        <a:off x="4055363" y="0"/>
        <a:ext cx="1784188" cy="762601"/>
      </dsp:txXfrm>
    </dsp:sp>
    <dsp:sp modelId="{DCA87870-BC68-4E70-A86B-BB404105586E}">
      <dsp:nvSpPr>
        <dsp:cNvPr id="0" name=""/>
        <dsp:cNvSpPr/>
      </dsp:nvSpPr>
      <dsp:spPr>
        <a:xfrm>
          <a:off x="3849039" y="2846571"/>
          <a:ext cx="1937129" cy="1070513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 fov="0">
            <a:rot lat="0" lon="0" rev="0"/>
          </a:camera>
          <a:lightRig rig="threePt" dir="t">
            <a:rot lat="0" lon="0" rev="1800000"/>
          </a:lightRig>
        </a:scene3d>
        <a:sp3d prstMaterial="matte">
          <a:bevelT h="200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nsure accountability and trust</a:t>
          </a:r>
          <a:endParaRPr lang="en-US" sz="2200" kern="1200" dirty="0"/>
        </a:p>
      </dsp:txBody>
      <dsp:txXfrm>
        <a:off x="3849039" y="2846571"/>
        <a:ext cx="1937129" cy="107051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architecture+Icon">
  <dgm:title val="Architecture Layout"/>
  <dgm:desc val="Use to show hierarchical relationships that build from the bottom up. This layout works well for showing architectural components or objects that build on other objects."/>
  <dgm:catLst>
    <dgm:cat type="hierarchy" pri="4500"/>
    <dgm:cat type="list" pri="24500"/>
    <dgm:cat type="relationship" pri="10500"/>
    <dgm:cat type="officeonline" pri="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b"/>
        </dgm:alg>
      </dgm:if>
      <dgm:else name="Name3">
        <dgm:alg type="lin">
          <dgm:param type="linDir" val="fromR"/>
          <dgm:param type="nodeVertAlign" val="b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B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b"/>
              </dgm:alg>
            </dgm:if>
            <dgm:else name="Name10">
              <dgm:alg type="lin">
                <dgm:param type="linDir" val="fromR"/>
                <dgm:param type="nodeVertAlign" val="b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B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b"/>
                    </dgm:alg>
                  </dgm:if>
                  <dgm:else name="Name17">
                    <dgm:alg type="lin">
                      <dgm:param type="linDir" val="fromR"/>
                      <dgm:param type="nodeVertAlign" val="b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B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b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b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B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b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b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3/31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9376536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6D13BD-4742-4A2D-88DE-6ACD5EA17108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1298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4.xml"/><Relationship Id="rId10" Type="http://schemas.openxmlformats.org/officeDocument/2006/relationships/image" Target="../media/image4.emf"/><Relationship Id="rId4" Type="http://schemas.openxmlformats.org/officeDocument/2006/relationships/tags" Target="../tags/tag3.xml"/><Relationship Id="rId9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FAA6B0-A981-4FE8-8CB2-CC48CCB7FF39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8825B1-3233-4838-87B7-A8D92C36041E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C72465-BCEC-4E06-A9C2-6B569F56F6A4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1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smtClean="0"/>
              <a:t>SS ZG653 Second Semester 2014-15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F0DCE2-2FBC-4FFC-B032-A3F4E93B9BBB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46412" y="6484937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7B16F2-75B5-4E12-BA4B-4E23576F0E85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DC533F-1479-43E0-A905-648835C5B091}" type="datetime1">
              <a:rPr lang="en-US" smtClean="0"/>
              <a:t>3/31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7D0CC8-4F7D-4B68-86C3-283FCB97F300}" type="datetime1">
              <a:rPr lang="en-US" smtClean="0"/>
              <a:t>3/31/20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EABEE2-EF7A-4F64-8F26-C87619B31F76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E894A2-5661-4019-9829-F72DFF4C87DE}" type="datetime1">
              <a:rPr lang="en-US" smtClean="0"/>
              <a:t>3/31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056C7C-8C59-4C6F-AB87-C6196E01DC19}" type="datetime1">
              <a:rPr lang="en-US" smtClean="0"/>
              <a:t>3/31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F33A80-DDE5-4387-9B50-1449AC668E17}" type="datetime1">
              <a:rPr lang="en-US" smtClean="0"/>
              <a:t>3/31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C579A3E-B1BB-4FD9-A6CC-E8344720CC8A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google.com/" TargetMode="Externa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jpe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10" Type="http://schemas.openxmlformats.org/officeDocument/2006/relationships/image" Target="../media/image14.jpeg"/><Relationship Id="rId4" Type="http://schemas.openxmlformats.org/officeDocument/2006/relationships/image" Target="../media/image8.jpeg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mckinsey.com/mgi/publications/big_data/index.asp" TargetMode="External"/><Relationship Id="rId3" Type="http://schemas.openxmlformats.org/officeDocument/2006/relationships/diagramLayout" Target="../diagrams/layout4.xml"/><Relationship Id="rId7" Type="http://schemas.openxmlformats.org/officeDocument/2006/relationships/hyperlink" Target="http://www2.sims.berkeley.edu/research/projects/how-much-info-2003/printable_report.pdf" TargetMode="Externa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Relationship Id="rId9" Type="http://schemas.openxmlformats.org/officeDocument/2006/relationships/hyperlink" Target="http://www.reuters.com/article/2011/07/19/idUS319973276120110719" TargetMode="Externa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Lecture 16: Architecture of Next Gen Systems</a:t>
            </a:r>
            <a:endParaRPr lang="en-GB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391400" y="654795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March 31, 201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n-US" b="1" dirty="0" smtClean="0"/>
              <a:t>System Virtualization</a:t>
            </a:r>
            <a:endParaRPr lang="en-US" b="1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52400" y="1371600"/>
            <a:ext cx="4135381" cy="4953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2000" dirty="0" smtClean="0"/>
              <a:t>Virtual Machine Monitor (VMM) - Hypervisor</a:t>
            </a:r>
            <a:endParaRPr lang="en-US" sz="2000" dirty="0"/>
          </a:p>
          <a:p>
            <a:pPr lvl="1"/>
            <a:r>
              <a:rPr lang="en-US" sz="1800" dirty="0"/>
              <a:t>Underlying </a:t>
            </a:r>
            <a:r>
              <a:rPr lang="en-US" sz="1800" dirty="0" smtClean="0"/>
              <a:t>software platform that provides virtualization support</a:t>
            </a:r>
          </a:p>
          <a:p>
            <a:pPr lvl="1"/>
            <a:r>
              <a:rPr lang="en-US" sz="1800" dirty="0" smtClean="0"/>
              <a:t>Manages several VMs</a:t>
            </a:r>
          </a:p>
          <a:p>
            <a:pPr lvl="1"/>
            <a:r>
              <a:rPr lang="en-US" sz="1800" dirty="0"/>
              <a:t>Two main services</a:t>
            </a:r>
          </a:p>
          <a:p>
            <a:pPr lvl="2"/>
            <a:r>
              <a:rPr lang="en-US" sz="1400" dirty="0"/>
              <a:t>Page mapping</a:t>
            </a:r>
          </a:p>
          <a:p>
            <a:pPr lvl="2"/>
            <a:r>
              <a:rPr lang="en-US" sz="1400" dirty="0" smtClean="0"/>
              <a:t>Scheduling</a:t>
            </a:r>
            <a:endParaRPr lang="en-US" sz="1800" dirty="0" smtClean="0"/>
          </a:p>
          <a:p>
            <a:r>
              <a:rPr lang="en-US" sz="2000" dirty="0" smtClean="0"/>
              <a:t>Virtual machine</a:t>
            </a:r>
          </a:p>
          <a:p>
            <a:pPr lvl="1"/>
            <a:r>
              <a:rPr lang="en-US" sz="1800" dirty="0" smtClean="0"/>
              <a:t>A software that simulates a machine environment</a:t>
            </a:r>
          </a:p>
          <a:p>
            <a:r>
              <a:rPr lang="en-US" sz="2000" dirty="0"/>
              <a:t>Guest Operating System</a:t>
            </a:r>
          </a:p>
          <a:p>
            <a:pPr lvl="1"/>
            <a:r>
              <a:rPr lang="en-US" sz="1800" dirty="0"/>
              <a:t>An operating system and its applications running inside a </a:t>
            </a:r>
            <a:r>
              <a:rPr lang="en-US" sz="1800" dirty="0" smtClean="0"/>
              <a:t>VM</a:t>
            </a:r>
            <a:endParaRPr lang="en-US" sz="1800" dirty="0"/>
          </a:p>
        </p:txBody>
      </p:sp>
      <p:sp>
        <p:nvSpPr>
          <p:cNvPr id="6" name="Slide Number Placeholder 1"/>
          <p:cNvSpPr txBox="1">
            <a:spLocks/>
          </p:cNvSpPr>
          <p:nvPr/>
        </p:nvSpPr>
        <p:spPr bwMode="gray">
          <a:xfrm>
            <a:off x="4403725" y="6447367"/>
            <a:ext cx="336550" cy="3640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60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0D70D66A-DB55-4A29-A255-844B911E3F8B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  <p:graphicFrame>
        <p:nvGraphicFramePr>
          <p:cNvPr id="5" name="Diagram 4"/>
          <p:cNvGraphicFramePr/>
          <p:nvPr>
            <p:extLst/>
          </p:nvPr>
        </p:nvGraphicFramePr>
        <p:xfrm>
          <a:off x="4256690" y="1625697"/>
          <a:ext cx="4887309" cy="38065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Rectangle 7"/>
          <p:cNvSpPr/>
          <p:nvPr/>
        </p:nvSpPr>
        <p:spPr>
          <a:xfrm>
            <a:off x="4403724" y="1793876"/>
            <a:ext cx="1413751" cy="2115971"/>
          </a:xfrm>
          <a:prstGeom prst="rect">
            <a:avLst/>
          </a:prstGeom>
          <a:solidFill>
            <a:schemeClr val="tx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b"/>
          <a:lstStyle/>
          <a:p>
            <a:pPr algn="ctr"/>
            <a:r>
              <a:rPr lang="en-US" dirty="0" smtClean="0"/>
              <a:t>Ubuntu</a:t>
            </a:r>
            <a:endParaRPr lang="en-US" dirty="0"/>
          </a:p>
        </p:txBody>
      </p:sp>
      <p:sp>
        <p:nvSpPr>
          <p:cNvPr id="7" name="Bevel 6"/>
          <p:cNvSpPr/>
          <p:nvPr/>
        </p:nvSpPr>
        <p:spPr>
          <a:xfrm>
            <a:off x="4519565" y="1896441"/>
            <a:ext cx="1103242" cy="418355"/>
          </a:xfrm>
          <a:prstGeom prst="bevel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Application</a:t>
            </a:r>
            <a:endParaRPr lang="en-US" sz="1400" dirty="0"/>
          </a:p>
        </p:txBody>
      </p:sp>
      <p:sp>
        <p:nvSpPr>
          <p:cNvPr id="11" name="Bevel 10"/>
          <p:cNvSpPr/>
          <p:nvPr/>
        </p:nvSpPr>
        <p:spPr>
          <a:xfrm>
            <a:off x="4561603" y="2395693"/>
            <a:ext cx="1103242" cy="418355"/>
          </a:xfrm>
          <a:prstGeom prst="bevel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Application</a:t>
            </a:r>
            <a:endParaRPr lang="en-US" sz="1400" dirty="0"/>
          </a:p>
        </p:txBody>
      </p:sp>
      <p:sp>
        <p:nvSpPr>
          <p:cNvPr id="14" name="Rectangle 13"/>
          <p:cNvSpPr/>
          <p:nvPr/>
        </p:nvSpPr>
        <p:spPr>
          <a:xfrm>
            <a:off x="6038128" y="1788616"/>
            <a:ext cx="1413751" cy="2115971"/>
          </a:xfrm>
          <a:prstGeom prst="rect">
            <a:avLst/>
          </a:prstGeom>
          <a:solidFill>
            <a:schemeClr val="tx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b"/>
          <a:lstStyle/>
          <a:p>
            <a:pPr algn="ctr"/>
            <a:r>
              <a:rPr lang="en-US" dirty="0" err="1" smtClean="0"/>
              <a:t>Redhat</a:t>
            </a:r>
            <a:endParaRPr lang="en-US" dirty="0"/>
          </a:p>
        </p:txBody>
      </p:sp>
      <p:sp>
        <p:nvSpPr>
          <p:cNvPr id="9" name="Bevel 8"/>
          <p:cNvSpPr/>
          <p:nvPr/>
        </p:nvSpPr>
        <p:spPr>
          <a:xfrm>
            <a:off x="6153922" y="1896441"/>
            <a:ext cx="1103242" cy="418355"/>
          </a:xfrm>
          <a:prstGeom prst="bevel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Application</a:t>
            </a:r>
            <a:endParaRPr lang="en-US" sz="1400" dirty="0"/>
          </a:p>
        </p:txBody>
      </p:sp>
      <p:sp>
        <p:nvSpPr>
          <p:cNvPr id="12" name="Bevel 11"/>
          <p:cNvSpPr/>
          <p:nvPr/>
        </p:nvSpPr>
        <p:spPr>
          <a:xfrm>
            <a:off x="6195960" y="2395693"/>
            <a:ext cx="1103242" cy="418355"/>
          </a:xfrm>
          <a:prstGeom prst="bevel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Application</a:t>
            </a:r>
            <a:endParaRPr lang="en-US" sz="1400" dirty="0"/>
          </a:p>
        </p:txBody>
      </p:sp>
      <p:sp>
        <p:nvSpPr>
          <p:cNvPr id="15" name="Rectangle 14"/>
          <p:cNvSpPr/>
          <p:nvPr/>
        </p:nvSpPr>
        <p:spPr>
          <a:xfrm>
            <a:off x="7646260" y="1804382"/>
            <a:ext cx="1413751" cy="2115971"/>
          </a:xfrm>
          <a:prstGeom prst="rect">
            <a:avLst/>
          </a:prstGeom>
          <a:solidFill>
            <a:schemeClr val="tx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b"/>
          <a:lstStyle/>
          <a:p>
            <a:pPr algn="ctr"/>
            <a:r>
              <a:rPr lang="en-US" dirty="0" smtClean="0"/>
              <a:t>Windows</a:t>
            </a:r>
            <a:endParaRPr lang="en-US" dirty="0"/>
          </a:p>
        </p:txBody>
      </p:sp>
      <p:sp>
        <p:nvSpPr>
          <p:cNvPr id="10" name="Bevel 9"/>
          <p:cNvSpPr/>
          <p:nvPr/>
        </p:nvSpPr>
        <p:spPr>
          <a:xfrm>
            <a:off x="7798789" y="1933227"/>
            <a:ext cx="1103242" cy="418355"/>
          </a:xfrm>
          <a:prstGeom prst="bevel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Application</a:t>
            </a:r>
            <a:endParaRPr lang="en-US" sz="1400" dirty="0"/>
          </a:p>
        </p:txBody>
      </p:sp>
      <p:sp>
        <p:nvSpPr>
          <p:cNvPr id="13" name="Bevel 12"/>
          <p:cNvSpPr/>
          <p:nvPr/>
        </p:nvSpPr>
        <p:spPr>
          <a:xfrm>
            <a:off x="7840827" y="2432479"/>
            <a:ext cx="1103242" cy="418355"/>
          </a:xfrm>
          <a:prstGeom prst="bevel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/>
              <a:t>Application</a:t>
            </a:r>
            <a:endParaRPr lang="en-US" sz="1400" dirty="0"/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6CDC04F-3B04-4AE8-BEEF-53A4EA76B117}" type="datetime1">
              <a:rPr lang="en-US" smtClean="0"/>
              <a:t>3/31/2015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657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ypervisor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According </a:t>
            </a:r>
            <a:r>
              <a:rPr lang="en-US" sz="2400" dirty="0" smtClean="0"/>
              <a:t>to [1], </a:t>
            </a:r>
            <a:r>
              <a:rPr lang="en-US" sz="2400" dirty="0"/>
              <a:t>a VMM should have</a:t>
            </a:r>
          </a:p>
          <a:p>
            <a:pPr lvl="1"/>
            <a:r>
              <a:rPr lang="en-US" sz="2400" dirty="0"/>
              <a:t>Equivalence</a:t>
            </a:r>
          </a:p>
          <a:p>
            <a:pPr lvl="1"/>
            <a:r>
              <a:rPr lang="en-US" sz="2400" dirty="0"/>
              <a:t>Efficiency</a:t>
            </a:r>
          </a:p>
          <a:p>
            <a:pPr lvl="1"/>
            <a:r>
              <a:rPr lang="en-US" sz="2400" dirty="0"/>
              <a:t>Resource Control</a:t>
            </a:r>
          </a:p>
          <a:p>
            <a:r>
              <a:rPr lang="en-US" sz="2400" dirty="0" smtClean="0"/>
              <a:t>Furthermore a VMM provides</a:t>
            </a:r>
            <a:endParaRPr lang="en-US" sz="2400" dirty="0"/>
          </a:p>
          <a:p>
            <a:pPr lvl="1"/>
            <a:r>
              <a:rPr lang="en-US" sz="2200" dirty="0" smtClean="0"/>
              <a:t>mediation </a:t>
            </a:r>
            <a:r>
              <a:rPr lang="en-US" sz="2200" dirty="0"/>
              <a:t>between VM and hardware</a:t>
            </a:r>
          </a:p>
          <a:p>
            <a:pPr lvl="2"/>
            <a:r>
              <a:rPr lang="en-US" sz="1800" dirty="0"/>
              <a:t>Strong isolation (performance, fault and security)</a:t>
            </a:r>
          </a:p>
          <a:p>
            <a:pPr lvl="1"/>
            <a:r>
              <a:rPr lang="en-US" sz="2200" dirty="0" smtClean="0"/>
              <a:t>encapsulation of virtual </a:t>
            </a:r>
            <a:r>
              <a:rPr lang="en-US" sz="2200" dirty="0"/>
              <a:t>machine</a:t>
            </a:r>
          </a:p>
          <a:p>
            <a:pPr lvl="2"/>
            <a:r>
              <a:rPr lang="en-US" sz="1800" dirty="0"/>
              <a:t>Failure and recovery (Reliability)</a:t>
            </a:r>
          </a:p>
          <a:p>
            <a:pPr lvl="2"/>
            <a:r>
              <a:rPr lang="en-US" sz="1800" dirty="0"/>
              <a:t>Check pointing (Reliability)</a:t>
            </a:r>
          </a:p>
          <a:p>
            <a:pPr lvl="2"/>
            <a:r>
              <a:rPr lang="en-US" sz="1800" dirty="0"/>
              <a:t>Live migration (Availability</a:t>
            </a:r>
            <a:r>
              <a:rPr lang="en-US" sz="1800" dirty="0" smtClean="0"/>
              <a:t>)</a:t>
            </a:r>
            <a:endParaRPr lang="en-US" sz="1800" dirty="0"/>
          </a:p>
        </p:txBody>
      </p:sp>
      <p:sp>
        <p:nvSpPr>
          <p:cNvPr id="5" name="TextBox 4"/>
          <p:cNvSpPr txBox="1"/>
          <p:nvPr/>
        </p:nvSpPr>
        <p:spPr>
          <a:xfrm>
            <a:off x="380999" y="5855435"/>
            <a:ext cx="8318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1. G</a:t>
            </a:r>
            <a:r>
              <a:rPr lang="en-US" sz="1400" dirty="0"/>
              <a:t>. J. </a:t>
            </a:r>
            <a:r>
              <a:rPr lang="en-US" sz="1400" dirty="0" err="1"/>
              <a:t>Popek</a:t>
            </a:r>
            <a:r>
              <a:rPr lang="en-US" sz="1400" dirty="0"/>
              <a:t> and R. P. Goldberg, "Formal Requirements for </a:t>
            </a:r>
            <a:r>
              <a:rPr lang="en-US" sz="1400" dirty="0" err="1"/>
              <a:t>Virtualizable</a:t>
            </a:r>
            <a:r>
              <a:rPr lang="en-US" sz="1400" dirty="0"/>
              <a:t> Third generation Architectures," </a:t>
            </a:r>
            <a:r>
              <a:rPr lang="en-US" sz="1400" i="1" dirty="0"/>
              <a:t>Communications of ACM, </a:t>
            </a:r>
            <a:r>
              <a:rPr lang="en-US" sz="1400" dirty="0"/>
              <a:t>vol. 17, no. 7, </a:t>
            </a:r>
            <a:r>
              <a:rPr lang="en-US" sz="1400" dirty="0" smtClean="0"/>
              <a:t>1974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8C55865-AA84-4D77-B128-1BEFAA02DC2F}" type="datetime1">
              <a:rPr lang="en-US" smtClean="0"/>
              <a:t>3/3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31776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/>
              <a:t>Virtualization Basics- Memory </a:t>
            </a:r>
            <a:r>
              <a:rPr lang="en-US" sz="4000" dirty="0" err="1" smtClean="0"/>
              <a:t>Mgmt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emory divided into pages- some are in physical memory and the rest are in disk (swap)</a:t>
            </a:r>
          </a:p>
          <a:p>
            <a:pPr lvl="1"/>
            <a:r>
              <a:rPr lang="en-US" dirty="0" smtClean="0"/>
              <a:t>Page table maps consumer application address to machine address or disk location</a:t>
            </a:r>
          </a:p>
          <a:p>
            <a:r>
              <a:rPr lang="en-US" dirty="0" smtClean="0"/>
              <a:t>Virtualized Environment</a:t>
            </a:r>
          </a:p>
          <a:p>
            <a:pPr lvl="1"/>
            <a:r>
              <a:rPr lang="en-US" dirty="0" smtClean="0"/>
              <a:t>VM page table maps target address to an address within VM.</a:t>
            </a:r>
          </a:p>
          <a:p>
            <a:pPr lvl="1"/>
            <a:r>
              <a:rPr lang="en-US" dirty="0" smtClean="0"/>
              <a:t>This is converted to physical address by Hypervisor page tab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EC0CE8E-EBF6-4F37-81ED-3EE6218F9BA2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6999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twork- in a Nutshel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Recall every device, and a VM on a network can have its own IP address (32bit number for IPv4)</a:t>
            </a:r>
          </a:p>
          <a:p>
            <a:pPr lvl="1"/>
            <a:r>
              <a:rPr lang="en-US" sz="2400" dirty="0" smtClean="0"/>
              <a:t>IP message has a header (source IP </a:t>
            </a:r>
            <a:r>
              <a:rPr lang="en-US" sz="2400" dirty="0" err="1" smtClean="0"/>
              <a:t>addr</a:t>
            </a:r>
            <a:r>
              <a:rPr lang="en-US" sz="2400" dirty="0" smtClean="0"/>
              <a:t>, destination IP </a:t>
            </a:r>
            <a:r>
              <a:rPr lang="en-US" sz="2400" dirty="0" err="1" smtClean="0"/>
              <a:t>addr</a:t>
            </a:r>
            <a:r>
              <a:rPr lang="en-US" sz="2400" dirty="0" smtClean="0"/>
              <a:t>) and the content</a:t>
            </a:r>
          </a:p>
          <a:p>
            <a:pPr lvl="1"/>
            <a:r>
              <a:rPr lang="en-US" sz="2400" dirty="0" smtClean="0"/>
              <a:t>IPv6 has 128 bit header but it has source and destination IP</a:t>
            </a:r>
          </a:p>
          <a:p>
            <a:r>
              <a:rPr lang="en-US" sz="2800" dirty="0"/>
              <a:t>Gateway</a:t>
            </a:r>
          </a:p>
          <a:p>
            <a:pPr lvl="1"/>
            <a:r>
              <a:rPr lang="en-US" sz="2400" dirty="0"/>
              <a:t>An organization uses a gateway to manage incoming and outgoing traffic</a:t>
            </a:r>
          </a:p>
          <a:p>
            <a:pPr lvl="1"/>
            <a:r>
              <a:rPr lang="en-US" sz="2400" dirty="0"/>
              <a:t>Public IP: </a:t>
            </a:r>
            <a:r>
              <a:rPr lang="en-US" sz="2400" dirty="0">
                <a:hlinkClick r:id="rId2"/>
              </a:rPr>
              <a:t>www.google.com</a:t>
            </a:r>
            <a:r>
              <a:rPr lang="en-US" sz="2400" dirty="0"/>
              <a:t> (unique within internet)</a:t>
            </a:r>
          </a:p>
          <a:p>
            <a:pPr lvl="1"/>
            <a:r>
              <a:rPr lang="en-US" sz="2400" dirty="0"/>
              <a:t>Private IP: restricted within </a:t>
            </a:r>
            <a:r>
              <a:rPr lang="en-US" sz="2400"/>
              <a:t>the </a:t>
            </a:r>
            <a:r>
              <a:rPr lang="en-US" sz="2400" smtClean="0"/>
              <a:t>organization (10.2.1.1)</a:t>
            </a:r>
            <a:endParaRPr lang="en-US" sz="2400" dirty="0"/>
          </a:p>
          <a:p>
            <a:pPr marL="0" indent="0">
              <a:buNone/>
            </a:pPr>
            <a:endParaRPr lang="en-US" sz="2800" dirty="0" smtClean="0"/>
          </a:p>
          <a:p>
            <a:pPr lvl="2"/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EB196C0-F782-4F5F-B41A-5B3536E4A96D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8299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twork Address Translation (NAT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Outgoing message</a:t>
            </a:r>
          </a:p>
          <a:p>
            <a:pPr lvl="1"/>
            <a:r>
              <a:rPr lang="en-US" dirty="0" smtClean="0"/>
              <a:t>Gateway records the private IP of the source, replace the header with its own public IP</a:t>
            </a:r>
          </a:p>
          <a:p>
            <a:pPr lvl="1"/>
            <a:r>
              <a:rPr lang="en-US" dirty="0" smtClean="0"/>
              <a:t>Sends it to external network</a:t>
            </a:r>
          </a:p>
          <a:p>
            <a:r>
              <a:rPr lang="en-US" dirty="0" smtClean="0"/>
              <a:t>Incoming message</a:t>
            </a:r>
          </a:p>
          <a:p>
            <a:pPr lvl="1"/>
            <a:r>
              <a:rPr lang="en-US" dirty="0" smtClean="0"/>
              <a:t>Gateway intercepts, overwrites the destination IP (which is the gateway) with internal private IP</a:t>
            </a:r>
          </a:p>
          <a:p>
            <a:pPr lvl="1"/>
            <a:r>
              <a:rPr lang="en-US" dirty="0" smtClean="0"/>
              <a:t>Sends it to internal network</a:t>
            </a:r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EF0DCE2-2FBC-4FFC-B032-A3F4E93B9BBB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0257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frastructure as a Servi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5756" y="1371600"/>
            <a:ext cx="4267200" cy="5029200"/>
          </a:xfrm>
        </p:spPr>
        <p:txBody>
          <a:bodyPr/>
          <a:lstStyle/>
          <a:p>
            <a:r>
              <a:rPr lang="en-US" sz="2800" dirty="0" smtClean="0"/>
              <a:t>Variety of clusters</a:t>
            </a:r>
          </a:p>
          <a:p>
            <a:pPr lvl="1"/>
            <a:r>
              <a:rPr lang="en-US" sz="2400" dirty="0" smtClean="0"/>
              <a:t>A cluster manager manages node, and persistent object manager manages files</a:t>
            </a:r>
          </a:p>
          <a:p>
            <a:pPr lvl="1"/>
            <a:r>
              <a:rPr lang="en-US" sz="2400" dirty="0" smtClean="0"/>
              <a:t>Cluster manager controls </a:t>
            </a:r>
          </a:p>
          <a:p>
            <a:pPr lvl="2"/>
            <a:r>
              <a:rPr lang="en-US" sz="2000" dirty="0" smtClean="0"/>
              <a:t>execution of VMs on a node</a:t>
            </a:r>
          </a:p>
          <a:p>
            <a:pPr lvl="2"/>
            <a:r>
              <a:rPr lang="en-US" sz="2000" dirty="0" smtClean="0"/>
              <a:t>Virtual networking between VMs and VM– external user</a:t>
            </a:r>
          </a:p>
          <a:p>
            <a:pPr lvl="1"/>
            <a:r>
              <a:rPr lang="en-US" sz="2400" dirty="0" smtClean="0"/>
              <a:t>Node manager uses the hypervisor to manage VM execution, inspection, and termina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EF0DCE2-2FBC-4FFC-B032-A3F4E93B9BBB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2" t="20663" r="35981" b="22919"/>
          <a:stretch/>
        </p:blipFill>
        <p:spPr>
          <a:xfrm>
            <a:off x="76200" y="1846118"/>
            <a:ext cx="5151120" cy="39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0283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tworking in </a:t>
            </a:r>
            <a:r>
              <a:rPr lang="en-US" dirty="0" err="1" smtClean="0"/>
              <a:t>Iaa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Virtual Resource Manager acts as a Gateway</a:t>
            </a:r>
          </a:p>
          <a:p>
            <a:r>
              <a:rPr lang="en-US" dirty="0" smtClean="0"/>
              <a:t>If a VM has a public IP address, </a:t>
            </a:r>
            <a:r>
              <a:rPr lang="en-US" dirty="0" err="1" smtClean="0"/>
              <a:t>IaaS</a:t>
            </a:r>
            <a:r>
              <a:rPr lang="en-US" dirty="0" smtClean="0"/>
              <a:t> automatically reallocates this to another VM if this VM fails</a:t>
            </a:r>
          </a:p>
          <a:p>
            <a:r>
              <a:rPr lang="en-US" dirty="0" smtClean="0"/>
              <a:t>Auto Scaling</a:t>
            </a:r>
          </a:p>
          <a:p>
            <a:pPr lvl="1"/>
            <a:r>
              <a:rPr lang="en-US" dirty="0" smtClean="0"/>
              <a:t>On demand, based on the workload, new VMs can be spawned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EF0DCE2-2FBC-4FFC-B032-A3F4E93B9BBB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897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(Massive) and Storag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Forces against Traditional RDBMS</a:t>
            </a:r>
          </a:p>
          <a:p>
            <a:pPr lvl="1"/>
            <a:r>
              <a:rPr lang="en-US" dirty="0" smtClean="0"/>
              <a:t>Billions of pages need to be collected and indexed. The data access is through simple indexes, sophisticated RDBMS indexing and optimization is not required</a:t>
            </a:r>
          </a:p>
          <a:p>
            <a:pPr lvl="1"/>
            <a:r>
              <a:rPr lang="en-US" dirty="0" smtClean="0"/>
              <a:t>Data schema is not fixed</a:t>
            </a:r>
          </a:p>
          <a:p>
            <a:pPr lvl="1"/>
            <a:r>
              <a:rPr lang="en-US" dirty="0" smtClean="0"/>
              <a:t>To get data from multiple table, join is required which is expensive when data is large</a:t>
            </a:r>
          </a:p>
          <a:p>
            <a:pPr lvl="1"/>
            <a:r>
              <a:rPr lang="en-US" dirty="0" smtClean="0"/>
              <a:t>It is okay to have temporary inconsistency of data, but availability is a MUS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71C8D82-A881-401B-9983-0D63DC2FF916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679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DF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57800" y="1371600"/>
            <a:ext cx="3657600" cy="5029200"/>
          </a:xfrm>
        </p:spPr>
        <p:txBody>
          <a:bodyPr/>
          <a:lstStyle/>
          <a:p>
            <a:r>
              <a:rPr lang="en-US" dirty="0" smtClean="0"/>
              <a:t>One </a:t>
            </a:r>
            <a:r>
              <a:rPr lang="en-US" dirty="0" err="1" smtClean="0"/>
              <a:t>NameNode</a:t>
            </a:r>
            <a:r>
              <a:rPr lang="en-US" dirty="0" smtClean="0"/>
              <a:t> managing multiple </a:t>
            </a:r>
            <a:r>
              <a:rPr lang="en-US" dirty="0" err="1" smtClean="0"/>
              <a:t>DataNodes</a:t>
            </a:r>
            <a:endParaRPr lang="en-US" dirty="0" smtClean="0"/>
          </a:p>
          <a:p>
            <a:r>
              <a:rPr lang="en-US" dirty="0" smtClean="0"/>
              <a:t>Data stored in </a:t>
            </a:r>
            <a:r>
              <a:rPr lang="en-US" dirty="0" err="1" smtClean="0"/>
              <a:t>DataNodes</a:t>
            </a:r>
            <a:r>
              <a:rPr lang="en-US" dirty="0" smtClean="0"/>
              <a:t> in blocks of 64MB</a:t>
            </a:r>
          </a:p>
          <a:p>
            <a:r>
              <a:rPr lang="en-US" dirty="0" smtClean="0"/>
              <a:t>Each block is replicated for Reliability</a:t>
            </a:r>
          </a:p>
          <a:p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33DD977-E451-40AE-A822-52AB0DB714C3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46" t="23578" r="34593" b="23454"/>
          <a:stretch/>
        </p:blipFill>
        <p:spPr>
          <a:xfrm>
            <a:off x="62845" y="1600200"/>
            <a:ext cx="5344174" cy="358533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81288" y="5381867"/>
            <a:ext cx="35147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omponent and Connector Vie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0493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HBa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err="1" smtClean="0"/>
              <a:t>Hbase</a:t>
            </a:r>
            <a:r>
              <a:rPr lang="en-US" sz="2800" dirty="0" smtClean="0"/>
              <a:t>- key-value based database like Google’s </a:t>
            </a:r>
            <a:r>
              <a:rPr lang="en-US" sz="2800" dirty="0" err="1" smtClean="0"/>
              <a:t>BigTable</a:t>
            </a:r>
            <a:endParaRPr lang="en-US" sz="2800" dirty="0" smtClean="0"/>
          </a:p>
          <a:p>
            <a:pPr lvl="1"/>
            <a:r>
              <a:rPr lang="en-US" sz="2400" dirty="0" smtClean="0"/>
              <a:t>Trillions of data can be stored</a:t>
            </a:r>
          </a:p>
          <a:p>
            <a:pPr lvl="1"/>
            <a:r>
              <a:rPr lang="en-US" sz="2400" dirty="0" smtClean="0"/>
              <a:t>Supports table but no schema, one column is key</a:t>
            </a:r>
          </a:p>
          <a:p>
            <a:pPr lvl="1"/>
            <a:r>
              <a:rPr lang="en-US" sz="2400" dirty="0" smtClean="0"/>
              <a:t>A data-value is indexed by </a:t>
            </a:r>
          </a:p>
          <a:p>
            <a:pPr lvl="2"/>
            <a:r>
              <a:rPr lang="en-US" sz="2000" dirty="0" smtClean="0"/>
              <a:t>Row value, column name, timestamp</a:t>
            </a:r>
          </a:p>
          <a:p>
            <a:pPr lvl="2"/>
            <a:r>
              <a:rPr lang="en-US" sz="2000" dirty="0" smtClean="0"/>
              <a:t>Supported time based versioning</a:t>
            </a:r>
          </a:p>
          <a:p>
            <a:r>
              <a:rPr lang="en-US" sz="2800" dirty="0" smtClean="0"/>
              <a:t>Web page crawling</a:t>
            </a:r>
          </a:p>
          <a:p>
            <a:pPr lvl="1"/>
            <a:r>
              <a:rPr lang="en-US" sz="2400" dirty="0" smtClean="0"/>
              <a:t>Row value can be URL</a:t>
            </a:r>
          </a:p>
          <a:p>
            <a:pPr lvl="1"/>
            <a:r>
              <a:rPr lang="en-US" sz="2400" dirty="0" smtClean="0"/>
              <a:t>Columns can be attributes of web-page</a:t>
            </a:r>
          </a:p>
          <a:p>
            <a:pPr lvl="1"/>
            <a:r>
              <a:rPr lang="en-US" sz="2400" dirty="0" smtClean="0"/>
              <a:t>URL/timestamp can be the index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6A45625-D43E-4BE1-8A67-92A358CD4E0C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4443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 smtClean="0"/>
              <a:t>Cloud Computing Paradigm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IN" sz="4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8B60FF-B389-40CC-9784-7DC8387049C4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063338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ongoDB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Stores data as object- containing all information about some concept</a:t>
            </a:r>
          </a:p>
          <a:p>
            <a:pPr lvl="1"/>
            <a:r>
              <a:rPr lang="en-US" sz="2400" dirty="0" smtClean="0"/>
              <a:t>Without bothering whether a data field of one object is related to another object</a:t>
            </a:r>
          </a:p>
          <a:p>
            <a:pPr lvl="1"/>
            <a:r>
              <a:rPr lang="en-US" sz="2400" dirty="0" smtClean="0"/>
              <a:t>Two objects can have all data fields common, some common or no commonality</a:t>
            </a:r>
          </a:p>
          <a:p>
            <a:pPr lvl="1"/>
            <a:r>
              <a:rPr lang="en-US" sz="2400" dirty="0" smtClean="0"/>
              <a:t>Links in data items can serve as connection between object </a:t>
            </a:r>
            <a:r>
              <a:rPr lang="en-US" sz="2400" dirty="0" err="1" smtClean="0"/>
              <a:t>implicity</a:t>
            </a:r>
            <a:r>
              <a:rPr lang="en-US" sz="2400" dirty="0" smtClean="0"/>
              <a:t>…</a:t>
            </a:r>
          </a:p>
          <a:p>
            <a:r>
              <a:rPr lang="en-US" sz="2800" dirty="0" smtClean="0"/>
              <a:t>Stored in binary JSON</a:t>
            </a:r>
          </a:p>
          <a:p>
            <a:r>
              <a:rPr lang="en-US" sz="2800" dirty="0" smtClean="0"/>
              <a:t>A field may be indexed or not indexed. No concept of primary or secondary keys</a:t>
            </a:r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4FEF2B3-FA69-4BCA-B69B-84D0E1476709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8623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ality of Servi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rchitecting a system meant for cloud platform is  no different from other distributed platform</a:t>
            </a:r>
          </a:p>
          <a:p>
            <a:pPr lvl="1"/>
            <a:r>
              <a:rPr lang="en-US" dirty="0" smtClean="0"/>
              <a:t>Issues of modifiability, interoperability, and testability are the same</a:t>
            </a:r>
          </a:p>
          <a:p>
            <a:r>
              <a:rPr lang="en-US" dirty="0" smtClean="0"/>
              <a:t>What’s significantly different</a:t>
            </a:r>
          </a:p>
          <a:p>
            <a:pPr lvl="1"/>
            <a:r>
              <a:rPr lang="en-US" dirty="0" smtClean="0"/>
              <a:t>Availability</a:t>
            </a:r>
          </a:p>
          <a:p>
            <a:pPr lvl="1"/>
            <a:r>
              <a:rPr lang="en-US" dirty="0" smtClean="0"/>
              <a:t>Performance</a:t>
            </a:r>
          </a:p>
          <a:p>
            <a:pPr lvl="1"/>
            <a:r>
              <a:rPr lang="en-US" smtClean="0"/>
              <a:t>Security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73C2AEA-9BE6-444B-9F78-04499884F264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347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vaila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64725"/>
            <a:ext cx="8382000" cy="5029200"/>
          </a:xfrm>
        </p:spPr>
        <p:txBody>
          <a:bodyPr/>
          <a:lstStyle/>
          <a:p>
            <a:r>
              <a:rPr lang="en-US" sz="2800" dirty="0" smtClean="0"/>
              <a:t>Services expected to always available- but there are many failure points</a:t>
            </a:r>
          </a:p>
          <a:p>
            <a:pPr lvl="1"/>
            <a:r>
              <a:rPr lang="en-US" sz="2400" dirty="0" smtClean="0"/>
              <a:t>VM, PM, Network</a:t>
            </a:r>
          </a:p>
          <a:p>
            <a:r>
              <a:rPr lang="en-US" sz="2800" dirty="0" smtClean="0"/>
              <a:t>Architect should plan for a failure</a:t>
            </a:r>
          </a:p>
          <a:p>
            <a:pPr lvl="1"/>
            <a:r>
              <a:rPr lang="en-US" sz="2400" dirty="0" smtClean="0"/>
              <a:t>EC2 provides 99.95% availability, but how to plan for 0.05% failure?</a:t>
            </a:r>
          </a:p>
          <a:p>
            <a:endParaRPr lang="en-US" sz="2800" dirty="0" smtClean="0"/>
          </a:p>
          <a:p>
            <a:r>
              <a:rPr lang="en-US" sz="2800" dirty="0" smtClean="0"/>
              <a:t>Netflix – real time video streaming service</a:t>
            </a:r>
          </a:p>
          <a:p>
            <a:pPr lvl="1"/>
            <a:r>
              <a:rPr lang="en-US" sz="2400" dirty="0" smtClean="0"/>
              <a:t>hosts on EC2 with additional application level availability</a:t>
            </a:r>
          </a:p>
          <a:p>
            <a:pPr lvl="1"/>
            <a:r>
              <a:rPr lang="en-US" sz="2400" dirty="0" smtClean="0"/>
              <a:t>EC2 has 4 days of sporadic outage in 2011, but Netflix was unaffected</a:t>
            </a:r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8780ED-6E9C-4813-9143-43012DF7F845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0437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ilure Estimation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304800" y="1205350"/>
                <a:ext cx="8382000" cy="5029200"/>
              </a:xfrm>
            </p:spPr>
            <p:txBody>
              <a:bodyPr/>
              <a:lstStyle/>
              <a:p>
                <a:r>
                  <a:rPr lang="en-US" sz="2800" dirty="0" smtClean="0"/>
                  <a:t>A subsystem is dependent of all the modules to work</a:t>
                </a:r>
              </a:p>
              <a:p>
                <a:pPr lvl="1"/>
                <a:r>
                  <a:rPr lang="en-US" sz="2400" dirty="0" smtClean="0"/>
                  <a:t>Probability </a:t>
                </a:r>
                <a:r>
                  <a:rPr lang="en-US" sz="2400" dirty="0"/>
                  <a:t>t</a:t>
                </a:r>
                <a:r>
                  <a:rPr lang="en-US" sz="2400" dirty="0" smtClean="0"/>
                  <a:t>hat the subsystem will work without failure: </a:t>
                </a:r>
                <a14:m>
                  <m:oMath xmlns:m="http://schemas.openxmlformats.org/officeDocument/2006/math">
                    <m:nary>
                      <m:naryPr>
                        <m:chr m:val="∏"/>
                        <m:ctrlPr>
                          <a:rPr lang="en-US" sz="240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sz="2400" b="0" i="1" smtClean="0">
                            <a:latin typeface="Cambria Math"/>
                          </a:rPr>
                          <m:t>𝑖</m:t>
                        </m:r>
                        <m:r>
                          <a:rPr lang="en-US" sz="2400" b="0" i="1" smtClean="0">
                            <a:latin typeface="Cambria Math"/>
                          </a:rPr>
                          <m:t>=1</m:t>
                        </m:r>
                      </m:sub>
                      <m:sup>
                        <m:r>
                          <a:rPr lang="en-US" sz="2400" b="0" i="1" smtClean="0">
                            <a:latin typeface="Cambria Math"/>
                          </a:rPr>
                          <m:t>𝑛</m:t>
                        </m:r>
                      </m:sup>
                      <m:e>
                        <m:r>
                          <a:rPr lang="en-US" sz="2400" b="0" i="1" smtClean="0">
                            <a:latin typeface="Cambria Math"/>
                          </a:rPr>
                          <m:t>𝑝</m:t>
                        </m:r>
                        <m:r>
                          <a:rPr lang="en-US" sz="2400" b="0" i="1" smtClean="0">
                            <a:latin typeface="Cambria Math"/>
                          </a:rPr>
                          <m:t>(</m:t>
                        </m:r>
                        <m:r>
                          <a:rPr lang="en-US" sz="2400" b="0" i="1" smtClean="0">
                            <a:latin typeface="Cambria Math"/>
                          </a:rPr>
                          <m:t>𝑖</m:t>
                        </m:r>
                        <m:r>
                          <a:rPr lang="en-US" sz="2400" b="0" i="1" smtClean="0">
                            <a:latin typeface="Cambria Math"/>
                          </a:rPr>
                          <m:t>)</m:t>
                        </m:r>
                      </m:e>
                    </m:nary>
                  </m:oMath>
                </a14:m>
                <a:r>
                  <a:rPr lang="en-US" sz="2400" dirty="0" smtClean="0"/>
                  <a:t> where </a:t>
                </a:r>
                <a14:m>
                  <m:oMath xmlns:m="http://schemas.openxmlformats.org/officeDocument/2006/math">
                    <m:r>
                      <a:rPr lang="en-US" sz="2400" i="1">
                        <a:latin typeface="Cambria Math"/>
                      </a:rPr>
                      <m:t>𝑝</m:t>
                    </m:r>
                    <m:r>
                      <a:rPr lang="en-US" sz="2400" i="1">
                        <a:latin typeface="Cambria Math"/>
                      </a:rPr>
                      <m:t>(</m:t>
                    </m:r>
                    <m:r>
                      <a:rPr lang="en-US" sz="2400" i="1">
                        <a:latin typeface="Cambria Math"/>
                      </a:rPr>
                      <m:t>𝑖</m:t>
                    </m:r>
                    <m:r>
                      <a:rPr lang="en-US" sz="2400" i="1">
                        <a:latin typeface="Cambria Math"/>
                      </a:rPr>
                      <m:t>)</m:t>
                    </m:r>
                  </m:oMath>
                </a14:m>
                <a:r>
                  <a:rPr lang="en-US" sz="2400" dirty="0" smtClean="0"/>
                  <a:t> is the probability of the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2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400" b="0" i="1" smtClean="0">
                            <a:latin typeface="Cambria Math"/>
                          </a:rPr>
                          <m:t>𝑖</m:t>
                        </m:r>
                      </m:e>
                      <m:sup>
                        <m:r>
                          <a:rPr lang="en-US" sz="2400" b="0" i="1" smtClean="0">
                            <a:latin typeface="Cambria Math"/>
                          </a:rPr>
                          <m:t>𝑡h</m:t>
                        </m:r>
                      </m:sup>
                    </m:sSup>
                  </m:oMath>
                </a14:m>
                <a:r>
                  <a:rPr lang="en-US" sz="2400" dirty="0" smtClean="0"/>
                  <a:t> module working without failure</a:t>
                </a:r>
              </a:p>
              <a:p>
                <a:r>
                  <a:rPr lang="en-US" sz="2800" dirty="0" smtClean="0"/>
                  <a:t>For a redundant system where it is sufficient to have one module working</a:t>
                </a:r>
              </a:p>
              <a:p>
                <a:pPr lvl="1"/>
                <a:r>
                  <a:rPr lang="en-US" sz="2400" dirty="0" smtClean="0"/>
                  <a:t>the probability of the subsystem being operational: </a:t>
                </a:r>
                <a14:m>
                  <m:oMath xmlns:m="http://schemas.openxmlformats.org/officeDocument/2006/math">
                    <m:r>
                      <a:rPr lang="en-US" sz="2400" b="0" i="0" smtClean="0">
                        <a:latin typeface="Cambria Math"/>
                      </a:rPr>
                      <m:t>1−</m:t>
                    </m:r>
                    <m:nary>
                      <m:naryPr>
                        <m:chr m:val="∏"/>
                        <m:ctrlPr>
                          <a:rPr lang="en-US" sz="240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sz="2400" i="1">
                            <a:latin typeface="Cambria Math"/>
                          </a:rPr>
                          <m:t>𝑖</m:t>
                        </m:r>
                        <m:r>
                          <a:rPr lang="en-US" sz="2400" i="1">
                            <a:latin typeface="Cambria Math"/>
                          </a:rPr>
                          <m:t>=1</m:t>
                        </m:r>
                      </m:sub>
                      <m:sup>
                        <m:r>
                          <a:rPr lang="en-US" sz="2400" i="1">
                            <a:latin typeface="Cambria Math"/>
                          </a:rPr>
                          <m:t>𝑛</m:t>
                        </m:r>
                      </m:sup>
                      <m:e>
                        <m:r>
                          <a:rPr lang="en-US" sz="2400" b="0" i="1" smtClean="0">
                            <a:latin typeface="Cambria Math"/>
                          </a:rPr>
                          <m:t>(1−</m:t>
                        </m:r>
                        <m:r>
                          <a:rPr lang="en-US" sz="2400" i="1">
                            <a:latin typeface="Cambria Math"/>
                          </a:rPr>
                          <m:t>𝑝</m:t>
                        </m:r>
                        <m:d>
                          <m:dPr>
                            <m:ctrlPr>
                              <a:rPr lang="en-US" sz="24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2400" i="1">
                                <a:latin typeface="Cambria Math"/>
                              </a:rPr>
                              <m:t>𝑖</m:t>
                            </m:r>
                          </m:e>
                        </m:d>
                        <m:r>
                          <a:rPr lang="en-US" sz="2400" b="0" i="1" smtClean="0">
                            <a:latin typeface="Cambria Math"/>
                          </a:rPr>
                          <m:t>)</m:t>
                        </m:r>
                      </m:e>
                    </m:nary>
                  </m:oMath>
                </a14:m>
                <a:endParaRPr lang="en-US" sz="2400" dirty="0" smtClean="0"/>
              </a:p>
              <a:p>
                <a:r>
                  <a:rPr lang="en-US" sz="2800" dirty="0" smtClean="0"/>
                  <a:t>When you need at least k modules to work</a:t>
                </a:r>
              </a:p>
              <a:p>
                <a:pPr lvl="1"/>
                <a:r>
                  <a:rPr lang="en-US" sz="2400" dirty="0" smtClean="0"/>
                  <a:t>and each has the identical probability of working without failure: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ctrlPr>
                          <a:rPr lang="pt-BR" sz="240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a:rPr lang="en-US" sz="2400" i="1">
                            <a:latin typeface="Cambria Math"/>
                          </a:rPr>
                          <m:t>𝑗</m:t>
                        </m:r>
                        <m:r>
                          <a:rPr lang="pt-BR" sz="2400" i="1">
                            <a:latin typeface="Cambria Math"/>
                          </a:rPr>
                          <m:t>=</m:t>
                        </m:r>
                        <m:r>
                          <a:rPr lang="en-US" sz="2400" i="1">
                            <a:latin typeface="Cambria Math"/>
                          </a:rPr>
                          <m:t>𝑘</m:t>
                        </m:r>
                      </m:sub>
                      <m:sup>
                        <m:r>
                          <a:rPr lang="pt-BR" sz="2400" i="1">
                            <a:latin typeface="Cambria Math"/>
                          </a:rPr>
                          <m:t>𝑛</m:t>
                        </m:r>
                      </m:sup>
                      <m:e>
                        <m:d>
                          <m:dPr>
                            <m:ctrlPr>
                              <a:rPr lang="pt-BR" sz="24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f>
                              <m:fPr>
                                <m:type m:val="noBar"/>
                                <m:ctrlPr>
                                  <a:rPr lang="pt-BR" sz="24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pt-BR" sz="2400" i="1">
                                    <a:latin typeface="Cambria Math"/>
                                  </a:rPr>
                                  <m:t>𝑛</m:t>
                                </m:r>
                              </m:num>
                              <m:den>
                                <m:r>
                                  <a:rPr lang="en-US" sz="2400" i="1">
                                    <a:latin typeface="Cambria Math"/>
                                  </a:rPr>
                                  <m:t>𝑗</m:t>
                                </m:r>
                              </m:den>
                            </m:f>
                          </m:e>
                        </m:d>
                        <m:sSup>
                          <m:sSupPr>
                            <m:ctrlPr>
                              <a:rPr lang="pt-BR" sz="24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400" i="1">
                                <a:latin typeface="Cambria Math"/>
                              </a:rPr>
                              <m:t>𝑝</m:t>
                            </m:r>
                          </m:e>
                          <m:sup>
                            <m:r>
                              <a:rPr lang="en-US" sz="2400" i="1">
                                <a:latin typeface="Cambria Math"/>
                              </a:rPr>
                              <m:t>𝑗</m:t>
                            </m:r>
                          </m:sup>
                        </m:sSup>
                        <m:sSup>
                          <m:sSupPr>
                            <m:ctrlPr>
                              <a:rPr lang="pt-BR" sz="24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400" i="1">
                                <a:latin typeface="Cambria Math"/>
                              </a:rPr>
                              <m:t>(1−</m:t>
                            </m:r>
                            <m:r>
                              <a:rPr lang="en-US" sz="2400" i="1">
                                <a:latin typeface="Cambria Math"/>
                              </a:rPr>
                              <m:t>𝑝</m:t>
                            </m:r>
                            <m:r>
                              <a:rPr lang="en-US" sz="2400" i="1">
                                <a:latin typeface="Cambria Math"/>
                              </a:rPr>
                              <m:t>)</m:t>
                            </m:r>
                          </m:e>
                          <m:sup>
                            <m:r>
                              <a:rPr lang="pt-BR" sz="2400" i="1">
                                <a:latin typeface="Cambria Math"/>
                              </a:rPr>
                              <m:t>𝑛</m:t>
                            </m:r>
                            <m:r>
                              <a:rPr lang="pt-BR" sz="2400" i="1">
                                <a:latin typeface="Cambria Math"/>
                              </a:rPr>
                              <m:t>−</m:t>
                            </m:r>
                            <m:r>
                              <a:rPr lang="en-US" sz="2400" i="1">
                                <a:latin typeface="Cambria Math"/>
                              </a:rPr>
                              <m:t>𝑗</m:t>
                            </m:r>
                          </m:sup>
                        </m:sSup>
                      </m:e>
                    </m:nary>
                  </m:oMath>
                </a14:m>
                <a:endParaRPr lang="en-US" sz="2400" dirty="0" smtClean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04800" y="1205350"/>
                <a:ext cx="8382000" cy="5029200"/>
              </a:xfrm>
              <a:blipFill rotWithShape="1">
                <a:blip r:embed="rId2"/>
                <a:stretch>
                  <a:fillRect l="-1236" t="-109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4533729-6F89-4C9D-8DBC-B3C52D47AE22}" type="datetime1">
              <a:rPr lang="en-US" smtClean="0"/>
              <a:t>3/31/2015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72209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tflix case study- Availability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457200" y="1295400"/>
            <a:ext cx="8382000" cy="5029200"/>
          </a:xfrm>
        </p:spPr>
        <p:txBody>
          <a:bodyPr/>
          <a:lstStyle/>
          <a:p>
            <a:r>
              <a:rPr lang="en-US" sz="2400" dirty="0"/>
              <a:t>Spare Copy tactic </a:t>
            </a:r>
            <a:endParaRPr lang="en-US" sz="2400" dirty="0" smtClean="0"/>
          </a:p>
          <a:p>
            <a:pPr lvl="1"/>
            <a:r>
              <a:rPr lang="en-US" sz="2000" dirty="0" smtClean="0"/>
              <a:t>Use of stateless service- any service request can be executed by any available server</a:t>
            </a:r>
          </a:p>
          <a:p>
            <a:pPr lvl="1"/>
            <a:r>
              <a:rPr lang="en-US" sz="2000" dirty="0" smtClean="0"/>
              <a:t>Thus everyone can be a spare copy!</a:t>
            </a:r>
          </a:p>
          <a:p>
            <a:pPr lvl="1"/>
            <a:endParaRPr lang="en-US" sz="2000" dirty="0" smtClean="0"/>
          </a:p>
          <a:p>
            <a:r>
              <a:rPr lang="en-US" sz="2400" dirty="0"/>
              <a:t>Active redundancy tactic</a:t>
            </a:r>
          </a:p>
          <a:p>
            <a:pPr lvl="1"/>
            <a:r>
              <a:rPr lang="en-US" sz="2000" dirty="0" smtClean="0"/>
              <a:t>Amazon’s availability zone: Multiple redundant  hot copies of data spread across Amazon provided availability zone</a:t>
            </a:r>
          </a:p>
          <a:p>
            <a:pPr lvl="1"/>
            <a:endParaRPr lang="en-US" sz="2400" dirty="0" smtClean="0"/>
          </a:p>
          <a:p>
            <a:r>
              <a:rPr lang="en-US" sz="2400" dirty="0" smtClean="0"/>
              <a:t>Graceful degradation tactic</a:t>
            </a:r>
          </a:p>
          <a:p>
            <a:pPr lvl="1"/>
            <a:r>
              <a:rPr lang="en-US" sz="2000" dirty="0" smtClean="0"/>
              <a:t>Fail fast- use timeout so as to isolate from a failing component</a:t>
            </a:r>
          </a:p>
          <a:p>
            <a:pPr lvl="1"/>
            <a:r>
              <a:rPr lang="en-US" sz="2000" dirty="0" smtClean="0"/>
              <a:t>Fallback- critical services degrade to a lower quality representation (similar to OS)</a:t>
            </a:r>
          </a:p>
          <a:p>
            <a:pPr lvl="1"/>
            <a:r>
              <a:rPr lang="en-US" sz="2000" dirty="0" smtClean="0"/>
              <a:t>Feature removal- non-critical features are removed from being used</a:t>
            </a:r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1EE7996-6BBB-4E4B-B308-46BCE3E5CFB9}" type="datetime1">
              <a:rPr lang="en-US" smtClean="0"/>
              <a:t>3/3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869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erforma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ssurance of business transaction SLA</a:t>
            </a:r>
          </a:p>
          <a:p>
            <a:r>
              <a:rPr lang="en-US" dirty="0" smtClean="0"/>
              <a:t>Cloud can elastically add additional resource</a:t>
            </a:r>
          </a:p>
          <a:p>
            <a:pPr lvl="1"/>
            <a:r>
              <a:rPr lang="en-US" dirty="0" smtClean="0"/>
              <a:t>Increase the VM capacity on-demand</a:t>
            </a:r>
          </a:p>
          <a:p>
            <a:pPr lvl="1"/>
            <a:r>
              <a:rPr lang="en-US" dirty="0" smtClean="0"/>
              <a:t>Add additional VMs to divert the load</a:t>
            </a:r>
          </a:p>
          <a:p>
            <a:r>
              <a:rPr lang="en-US" dirty="0" smtClean="0"/>
              <a:t>As an architect</a:t>
            </a:r>
          </a:p>
          <a:p>
            <a:pPr lvl="1"/>
            <a:r>
              <a:rPr lang="en-US" dirty="0" smtClean="0"/>
              <a:t>It is necessary to understand Application’s resource demand and projected resource usage</a:t>
            </a:r>
          </a:p>
          <a:p>
            <a:pPr lvl="1"/>
            <a:r>
              <a:rPr lang="en-US" dirty="0" smtClean="0"/>
              <a:t>Application should predict the load and possibly ask for more resource from the cloud resource manage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C4D70F9-A2B9-4E70-9DCA-B95BF8965E3D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117804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cur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Multi-tenancy in Cloud can increase security threat possibility</a:t>
            </a:r>
          </a:p>
          <a:p>
            <a:r>
              <a:rPr lang="en-US" sz="2400" dirty="0" smtClean="0"/>
              <a:t>A PM is hosting other VMs </a:t>
            </a:r>
            <a:r>
              <a:rPr lang="en-US" sz="2400" dirty="0" err="1" smtClean="0"/>
              <a:t>alongwith</a:t>
            </a:r>
            <a:r>
              <a:rPr lang="en-US" sz="2400" dirty="0" smtClean="0"/>
              <a:t> yours</a:t>
            </a:r>
          </a:p>
          <a:p>
            <a:pPr lvl="1"/>
            <a:r>
              <a:rPr lang="en-US" sz="2000" dirty="0" smtClean="0"/>
              <a:t>Information stealing</a:t>
            </a:r>
          </a:p>
          <a:p>
            <a:pPr lvl="2"/>
            <a:r>
              <a:rPr lang="en-US" sz="1800" dirty="0" smtClean="0"/>
              <a:t>Each tenant’s virtual resource is ultimately mapped to a physical resource. Data from one tenant’s physical resource can get copied/moved to another tenant</a:t>
            </a:r>
          </a:p>
          <a:p>
            <a:pPr lvl="1"/>
            <a:r>
              <a:rPr lang="en-US" sz="2000" dirty="0" smtClean="0"/>
              <a:t>VM escape</a:t>
            </a:r>
          </a:p>
          <a:p>
            <a:pPr lvl="2"/>
            <a:r>
              <a:rPr lang="en-US" sz="1800" dirty="0" smtClean="0"/>
              <a:t>Though rare, an attacker can exploit hypervisor software error and access information by accessing VM address space</a:t>
            </a:r>
          </a:p>
          <a:p>
            <a:pPr lvl="1"/>
            <a:r>
              <a:rPr lang="en-US" sz="2000" dirty="0" smtClean="0"/>
              <a:t>Side channel attack</a:t>
            </a:r>
          </a:p>
          <a:p>
            <a:pPr lvl="2"/>
            <a:r>
              <a:rPr lang="en-US" sz="1800" dirty="0" smtClean="0"/>
              <a:t>Attacker can deduce the information about keys and other data by monitoring timing activity of another VM</a:t>
            </a:r>
          </a:p>
          <a:p>
            <a:pPr lvl="1"/>
            <a:r>
              <a:rPr lang="en-US" sz="2000" dirty="0" smtClean="0"/>
              <a:t>Denial of Service</a:t>
            </a:r>
          </a:p>
          <a:p>
            <a:pPr lvl="2"/>
            <a:r>
              <a:rPr lang="en-US" sz="1800" dirty="0" smtClean="0"/>
              <a:t>Malicious tenant grabs maximum resources so that other VMs starve for resource and that impacts service quality</a:t>
            </a:r>
            <a:endParaRPr lang="en-US" sz="1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27CE7A7-5099-4242-BD94-CBD70B1EB123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44027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279400"/>
            <a:ext cx="8763000" cy="939800"/>
          </a:xfrm>
        </p:spPr>
        <p:txBody>
          <a:bodyPr/>
          <a:lstStyle/>
          <a:p>
            <a:r>
              <a:rPr lang="en-US" dirty="0" smtClean="0"/>
              <a:t>Testing strategy Netflix- Simian Arm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Uses test environments (called monkeys) to test</a:t>
            </a:r>
          </a:p>
          <a:p>
            <a:pPr lvl="1"/>
            <a:r>
              <a:rPr lang="en-US" sz="2400" dirty="0" smtClean="0"/>
              <a:t>Latency: induces artificial delays in the communication to simulate service degradation and measures impact</a:t>
            </a:r>
          </a:p>
          <a:p>
            <a:pPr lvl="1"/>
            <a:r>
              <a:rPr lang="en-US" sz="2400" dirty="0" smtClean="0"/>
              <a:t>Fault-Injection: Injects faults at several places of a running system to analyze the fault-tolerance</a:t>
            </a:r>
          </a:p>
          <a:p>
            <a:r>
              <a:rPr lang="en-US" sz="2800" dirty="0" smtClean="0"/>
              <a:t>Helper utilities</a:t>
            </a:r>
          </a:p>
          <a:p>
            <a:pPr lvl="1"/>
            <a:r>
              <a:rPr lang="en-US" sz="2400" dirty="0" smtClean="0"/>
              <a:t>Conformity: checks if a VM instance don’t adhere to best practices and shuts it down</a:t>
            </a:r>
          </a:p>
          <a:p>
            <a:pPr lvl="2"/>
            <a:r>
              <a:rPr lang="en-US" sz="2000" dirty="0" smtClean="0"/>
              <a:t>E.g. Security</a:t>
            </a:r>
            <a:r>
              <a:rPr lang="en-US" sz="2000" dirty="0"/>
              <a:t>: detects security violations or improper configuration </a:t>
            </a:r>
          </a:p>
          <a:p>
            <a:pPr lvl="3"/>
            <a:r>
              <a:rPr lang="en-US" sz="1600" dirty="0"/>
              <a:t>Improper configuration of security group, use of SSL, use of DRM</a:t>
            </a:r>
          </a:p>
          <a:p>
            <a:pPr lvl="1"/>
            <a:r>
              <a:rPr lang="en-US" sz="2400" dirty="0" smtClean="0"/>
              <a:t>Health: monitors CPU load to detect overloaded VMs</a:t>
            </a:r>
          </a:p>
          <a:p>
            <a:pPr lvl="1"/>
            <a:r>
              <a:rPr lang="en-US" sz="2400" dirty="0" smtClean="0"/>
              <a:t>Janitor: Removes unused resources</a:t>
            </a:r>
          </a:p>
          <a:p>
            <a:pPr lvl="1"/>
            <a:endParaRPr lang="en-US" sz="2400" dirty="0" smtClean="0"/>
          </a:p>
          <a:p>
            <a:pPr lvl="1"/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5683DBE-E17B-442B-87C6-9EE12B886937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0291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P Theore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No distributed system can achieve all of the three properties</a:t>
            </a:r>
          </a:p>
          <a:p>
            <a:pPr lvl="1"/>
            <a:r>
              <a:rPr lang="en-US" dirty="0" smtClean="0"/>
              <a:t>Consistency</a:t>
            </a:r>
          </a:p>
          <a:p>
            <a:pPr lvl="2"/>
            <a:r>
              <a:rPr lang="en-US" dirty="0" smtClean="0"/>
              <a:t>The data will be consistent throughout the distributed system</a:t>
            </a:r>
          </a:p>
          <a:p>
            <a:pPr lvl="1"/>
            <a:r>
              <a:rPr lang="en-US" dirty="0" smtClean="0"/>
              <a:t>Availability</a:t>
            </a:r>
          </a:p>
          <a:p>
            <a:pPr lvl="2"/>
            <a:r>
              <a:rPr lang="en-US" dirty="0" smtClean="0"/>
              <a:t>The data will always be available</a:t>
            </a:r>
          </a:p>
          <a:p>
            <a:pPr lvl="1"/>
            <a:r>
              <a:rPr lang="en-US" dirty="0" smtClean="0"/>
              <a:t>Partition Tolerance</a:t>
            </a:r>
          </a:p>
          <a:p>
            <a:pPr lvl="2"/>
            <a:r>
              <a:rPr lang="en-US" dirty="0" smtClean="0"/>
              <a:t>The system will not fail when network is partitioned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FF10D99-EF95-44DD-ABE7-E310C68FCD11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327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P Theorem- Explan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142999"/>
            <a:ext cx="8382000" cy="5341937"/>
          </a:xfrm>
        </p:spPr>
        <p:txBody>
          <a:bodyPr/>
          <a:lstStyle/>
          <a:p>
            <a:r>
              <a:rPr lang="en-US" sz="2000" dirty="0"/>
              <a:t>Imagine a distributed system which keeps track of a single piece of data using three nodes—A, B, and C—and which claims to be both consistent and </a:t>
            </a:r>
            <a:r>
              <a:rPr lang="en-US" sz="2000" dirty="0" smtClean="0"/>
              <a:t>available. </a:t>
            </a:r>
            <a:r>
              <a:rPr lang="en-US" sz="2000" dirty="0"/>
              <a:t>Misfortune strikes, and that system is partitioned </a:t>
            </a:r>
            <a:r>
              <a:rPr lang="en-US" sz="2000" dirty="0" smtClean="0"/>
              <a:t>into: </a:t>
            </a:r>
            <a:r>
              <a:rPr lang="en-US" sz="2000" dirty="0"/>
              <a:t>{A,B} and {C}. </a:t>
            </a:r>
            <a:r>
              <a:rPr lang="en-US" sz="2000" dirty="0" smtClean="0"/>
              <a:t> </a:t>
            </a:r>
            <a:r>
              <a:rPr lang="en-US" sz="1800" dirty="0" smtClean="0"/>
              <a:t>Now a </a:t>
            </a:r>
            <a:r>
              <a:rPr lang="en-US" sz="1800" dirty="0"/>
              <a:t>write request arrives at </a:t>
            </a:r>
            <a:r>
              <a:rPr lang="en-US" sz="1800" dirty="0" smtClean="0"/>
              <a:t>C. 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US" sz="1400" dirty="0" smtClean="0"/>
              <a:t>Accept </a:t>
            </a:r>
            <a:r>
              <a:rPr lang="en-US" sz="1400" dirty="0"/>
              <a:t>the write, knowing that neither A nor B will know about this new data until the partition heals.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US" sz="1400" dirty="0"/>
              <a:t>Refuse the write, knowing that the client might not be able to contact A or B until the partition heals. </a:t>
            </a:r>
            <a:endParaRPr lang="en-US" sz="1400" dirty="0" smtClean="0"/>
          </a:p>
          <a:p>
            <a:r>
              <a:rPr lang="en-US" sz="2000" b="1" dirty="0" smtClean="0"/>
              <a:t>Choosing </a:t>
            </a:r>
            <a:r>
              <a:rPr lang="en-US" sz="2000" b="1" dirty="0"/>
              <a:t>Consistency Over </a:t>
            </a:r>
            <a:r>
              <a:rPr lang="en-US" sz="2000" b="1" dirty="0" smtClean="0"/>
              <a:t>Availability</a:t>
            </a:r>
          </a:p>
          <a:p>
            <a:pPr lvl="1"/>
            <a:r>
              <a:rPr lang="en-US" sz="1600" dirty="0" smtClean="0"/>
              <a:t>It has to guarantee atomic </a:t>
            </a:r>
            <a:r>
              <a:rPr lang="en-US" sz="1600" dirty="0"/>
              <a:t>reads and writes by refusing to respond to some requests. It may decide to shut down entirely (like the clients of a single-node data store), refuse writes (like Two-Phase Commit), or only respond to reads and writes for pieces of data whose “master” node is inside the partition </a:t>
            </a:r>
            <a:r>
              <a:rPr lang="en-US" sz="1600" dirty="0" smtClean="0"/>
              <a:t>component</a:t>
            </a:r>
            <a:endParaRPr lang="en-US" sz="1400" dirty="0"/>
          </a:p>
          <a:p>
            <a:r>
              <a:rPr lang="en-US" sz="2000" b="1" dirty="0" smtClean="0"/>
              <a:t>Choosing </a:t>
            </a:r>
            <a:r>
              <a:rPr lang="en-US" sz="2000" b="1" dirty="0"/>
              <a:t>Availability Over Consistency</a:t>
            </a:r>
          </a:p>
          <a:p>
            <a:pPr lvl="1"/>
            <a:r>
              <a:rPr lang="en-US" sz="1600" dirty="0" smtClean="0"/>
              <a:t>It </a:t>
            </a:r>
            <a:r>
              <a:rPr lang="en-US" sz="1600" dirty="0"/>
              <a:t>will respond to all requests, potentially returning stale reads and accepting conflicting writes. These inconsistencies are often resolved via causal ordering mechanisms like vector clocks and application-specific conflict resolution </a:t>
            </a:r>
            <a:r>
              <a:rPr lang="en-US" sz="1600" dirty="0" smtClean="0"/>
              <a:t>procedures.</a:t>
            </a:r>
          </a:p>
          <a:p>
            <a:pPr lvl="2"/>
            <a:r>
              <a:rPr lang="en-US" sz="1400" dirty="0" smtClean="0"/>
              <a:t>Dynamo </a:t>
            </a:r>
            <a:r>
              <a:rPr lang="en-US" sz="1400" dirty="0"/>
              <a:t>systems usually offer both of </a:t>
            </a:r>
            <a:r>
              <a:rPr lang="en-US" sz="1400" dirty="0" smtClean="0"/>
              <a:t>these</a:t>
            </a:r>
          </a:p>
          <a:p>
            <a:pPr lvl="2"/>
            <a:r>
              <a:rPr lang="en-US" sz="1400" dirty="0" smtClean="0"/>
              <a:t>Cassandra’s </a:t>
            </a:r>
            <a:r>
              <a:rPr lang="en-US" sz="1400" dirty="0"/>
              <a:t>hard-coded Last-Writer-Wins conflict resolution being the main </a:t>
            </a:r>
            <a:r>
              <a:rPr lang="en-US" sz="1400" dirty="0" smtClean="0"/>
              <a:t>exception</a:t>
            </a:r>
            <a:endParaRPr lang="en-US" sz="1400" dirty="0"/>
          </a:p>
          <a:p>
            <a:endParaRPr lang="en-US" sz="1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EF0DCE2-2FBC-4FFC-B032-A3F4E93B9BBB}" type="datetime1">
              <a:rPr lang="en-US" smtClean="0"/>
              <a:t>3/31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323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haracteristics of Cloud Computing</a:t>
            </a:r>
            <a:endParaRPr lang="en-US" dirty="0"/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14896252"/>
              </p:ext>
            </p:extLst>
          </p:nvPr>
        </p:nvGraphicFramePr>
        <p:xfrm>
          <a:off x="304800" y="2209800"/>
          <a:ext cx="8382000" cy="419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848B9B6-549F-4C83-B713-89209F6610D0}" type="datetime1">
              <a:rPr lang="en-US" smtClean="0"/>
              <a:t>3/31/201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" y="1295400"/>
            <a:ext cx="70104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8872" indent="0" algn="ctr">
              <a:buNone/>
            </a:pPr>
            <a:r>
              <a:rPr lang="en-US" sz="2400" dirty="0"/>
              <a:t>According to </a:t>
            </a:r>
          </a:p>
          <a:p>
            <a:pPr marL="118872" indent="0" algn="ctr">
              <a:buNone/>
            </a:pPr>
            <a:r>
              <a:rPr lang="en-US" sz="2400" dirty="0"/>
              <a:t>National Institute of Standard &amp; Technology</a:t>
            </a:r>
          </a:p>
        </p:txBody>
      </p:sp>
    </p:spTree>
    <p:extLst>
      <p:ext uri="{BB962C8B-B14F-4D97-AF65-F5344CB8AC3E}">
        <p14:creationId xmlns:p14="http://schemas.microsoft.com/office/powerpoint/2010/main" val="4097379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940D1B2C-ACE2-433B-B98E-29C657F5AE5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C107670F-D6C8-47BF-A8BB-B0BF6F596E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0B00403F-B441-4195-94F6-4CAF6A7137B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AC1C38B8-FBE6-4EDF-BE59-293C4C4673D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80ED640A-0F5E-4BE3-95CA-DA8DD5FB78D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9666BD5B-1357-48D8-9F5F-5FE154146C9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EE6DACEB-85B1-4C26-8E95-FFF414FC003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B0DE0264-FDA3-404C-88C3-0E901A03F23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3B37576A-EACF-4927-A1C3-6117F62BF5F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8BF34EB3-A71D-4853-9FBB-F41467E94C2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C5E91D70-30C1-484C-A8D4-19A8D9C9F3E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30669E3C-8107-4773-A401-987613B3BCB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Sub>
          <a:bldDgm bld="one"/>
        </p:bldSub>
      </p:bldGraphic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chitect’s Deci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How do we tradeoff between C, A, and P?</a:t>
            </a:r>
          </a:p>
          <a:p>
            <a:r>
              <a:rPr lang="en-US" sz="2400" dirty="0" smtClean="0"/>
              <a:t>Eventual Consistency</a:t>
            </a:r>
          </a:p>
          <a:p>
            <a:pPr lvl="1"/>
            <a:r>
              <a:rPr lang="en-US" sz="2000" dirty="0" smtClean="0"/>
              <a:t>Nodes across partitions are allowed to be inconsistent- for some time- then it becomes consistent</a:t>
            </a:r>
          </a:p>
          <a:p>
            <a:pPr lvl="1"/>
            <a:r>
              <a:rPr lang="en-US" sz="2000" dirty="0" smtClean="0"/>
              <a:t>Architect’s decision- Design challenge</a:t>
            </a:r>
          </a:p>
          <a:p>
            <a:pPr lvl="2"/>
            <a:r>
              <a:rPr lang="en-US" sz="1800" dirty="0" smtClean="0"/>
              <a:t>No more than n% of data should be stale</a:t>
            </a:r>
          </a:p>
          <a:p>
            <a:pPr lvl="2"/>
            <a:r>
              <a:rPr lang="en-US" sz="1800" dirty="0" smtClean="0"/>
              <a:t>It shouldn’t take more than t sec. to be consistent</a:t>
            </a:r>
          </a:p>
          <a:p>
            <a:r>
              <a:rPr lang="en-US" sz="2400" dirty="0" smtClean="0"/>
              <a:t>Availability and Partition tolerance (latency) is preferred than consistency</a:t>
            </a:r>
          </a:p>
          <a:p>
            <a:pPr lvl="1"/>
            <a:r>
              <a:rPr lang="en-US" sz="2000" dirty="0" smtClean="0"/>
              <a:t>Facebook user should always be able to respond but they are okay with delayed newsfeed</a:t>
            </a:r>
          </a:p>
          <a:p>
            <a:pPr lvl="1"/>
            <a:r>
              <a:rPr lang="en-US" sz="2000" dirty="0" smtClean="0"/>
              <a:t>Amazon shopping cart does not require ACID property</a:t>
            </a:r>
          </a:p>
          <a:p>
            <a:pPr lvl="1"/>
            <a:r>
              <a:rPr lang="en-US" sz="2000" dirty="0" smtClean="0"/>
              <a:t>Twitter timelines may be delayed</a:t>
            </a:r>
          </a:p>
          <a:p>
            <a:pPr lvl="1"/>
            <a:r>
              <a:rPr lang="en-US" sz="2000" dirty="0" smtClean="0"/>
              <a:t>Fund-transfer between Banks- delay of 24hrs is okay</a:t>
            </a:r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0638EB4-4660-4B1C-86E1-19EFBE041291}" type="datetime1">
              <a:rPr lang="en-US" smtClean="0"/>
              <a:t>3/31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280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chitect’s Ro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echanism for eventual consistency</a:t>
            </a:r>
          </a:p>
          <a:p>
            <a:pPr lvl="1"/>
            <a:r>
              <a:rPr lang="en-US" dirty="0" smtClean="0"/>
              <a:t>Caching, replication, message retry, timeout</a:t>
            </a:r>
          </a:p>
          <a:p>
            <a:r>
              <a:rPr lang="en-US" dirty="0" smtClean="0"/>
              <a:t>Quality Attribute Tradeoff</a:t>
            </a:r>
          </a:p>
          <a:p>
            <a:pPr lvl="1"/>
            <a:r>
              <a:rPr lang="en-US" dirty="0" smtClean="0"/>
              <a:t>NoSQL databases must trade-off between</a:t>
            </a:r>
          </a:p>
          <a:p>
            <a:pPr lvl="2"/>
            <a:r>
              <a:rPr lang="en-US" dirty="0" smtClean="0"/>
              <a:t>Availability, latency, consistency , partitioning</a:t>
            </a:r>
          </a:p>
          <a:p>
            <a:pPr lvl="1"/>
            <a:r>
              <a:rPr lang="en-US" dirty="0" smtClean="0"/>
              <a:t>Additionally</a:t>
            </a:r>
          </a:p>
          <a:p>
            <a:pPr lvl="2"/>
            <a:r>
              <a:rPr lang="en-US" dirty="0" smtClean="0"/>
              <a:t>Interoperability, secur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EF0DCE2-2FBC-4FFC-B032-A3F4E93B9BBB}" type="datetime1">
              <a:rPr lang="en-US" smtClean="0"/>
              <a:t>3/3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333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hank You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3CF5B15-DF03-4DD7-B5A9-6A8AF02C1571}" type="datetime1">
              <a:rPr lang="en-US" smtClean="0"/>
              <a:t>3/31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2</a:t>
            </a:fld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12952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3196578-B445-41AD-88E6-3D6D5ABFF394}" type="datetime1">
              <a:rPr lang="en-US" smtClean="0"/>
              <a:t>3/31/201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ervice Oriented Software- Characteristics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277724796"/>
              </p:ext>
            </p:extLst>
          </p:nvPr>
        </p:nvGraphicFramePr>
        <p:xfrm>
          <a:off x="0" y="1711325"/>
          <a:ext cx="2895600" cy="472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471537281"/>
              </p:ext>
            </p:extLst>
          </p:nvPr>
        </p:nvGraphicFramePr>
        <p:xfrm>
          <a:off x="3124200" y="1828800"/>
          <a:ext cx="6019800" cy="45918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7" name="Rectangle 6"/>
          <p:cNvSpPr/>
          <p:nvPr/>
        </p:nvSpPr>
        <p:spPr>
          <a:xfrm>
            <a:off x="3810000" y="1295400"/>
            <a:ext cx="4415570" cy="36933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dirty="0">
                <a:latin typeface="Arial Black" pitchFamily="34" charset="0"/>
              </a:rPr>
              <a:t>Next Generation of Service</a:t>
            </a:r>
          </a:p>
        </p:txBody>
      </p:sp>
      <p:sp>
        <p:nvSpPr>
          <p:cNvPr id="8" name="Rectangle 7"/>
          <p:cNvSpPr/>
          <p:nvPr/>
        </p:nvSpPr>
        <p:spPr>
          <a:xfrm>
            <a:off x="34159" y="1300232"/>
            <a:ext cx="3002845" cy="36933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dirty="0" smtClean="0">
                <a:latin typeface="Arial Black" pitchFamily="34" charset="0"/>
              </a:rPr>
              <a:t>Cloud Computing</a:t>
            </a:r>
            <a:endParaRPr lang="en-US" dirty="0"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5619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  <p:bldGraphic spid="6" grpId="0">
        <p:bldAsOne/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8E89D2C-BDE7-4083-8C8C-A32921F4A23B}" type="datetime1">
              <a:rPr lang="en-US" smtClean="0"/>
              <a:t>3/31/201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Four Key Infrastructure Components</a:t>
            </a:r>
            <a:endParaRPr lang="en-US" dirty="0"/>
          </a:p>
        </p:txBody>
      </p:sp>
      <p:sp>
        <p:nvSpPr>
          <p:cNvPr id="7" name="Freeform 6"/>
          <p:cNvSpPr/>
          <p:nvPr/>
        </p:nvSpPr>
        <p:spPr>
          <a:xfrm>
            <a:off x="5143499" y="4540628"/>
            <a:ext cx="3976115" cy="1745872"/>
          </a:xfrm>
          <a:custGeom>
            <a:avLst/>
            <a:gdLst>
              <a:gd name="connsiteX0" fmla="*/ 0 w 2285231"/>
              <a:gd name="connsiteY0" fmla="*/ 148031 h 1480312"/>
              <a:gd name="connsiteX1" fmla="*/ 148031 w 2285231"/>
              <a:gd name="connsiteY1" fmla="*/ 0 h 1480312"/>
              <a:gd name="connsiteX2" fmla="*/ 2137200 w 2285231"/>
              <a:gd name="connsiteY2" fmla="*/ 0 h 1480312"/>
              <a:gd name="connsiteX3" fmla="*/ 2285231 w 2285231"/>
              <a:gd name="connsiteY3" fmla="*/ 148031 h 1480312"/>
              <a:gd name="connsiteX4" fmla="*/ 2285231 w 2285231"/>
              <a:gd name="connsiteY4" fmla="*/ 1332281 h 1480312"/>
              <a:gd name="connsiteX5" fmla="*/ 2137200 w 2285231"/>
              <a:gd name="connsiteY5" fmla="*/ 1480312 h 1480312"/>
              <a:gd name="connsiteX6" fmla="*/ 148031 w 2285231"/>
              <a:gd name="connsiteY6" fmla="*/ 1480312 h 1480312"/>
              <a:gd name="connsiteX7" fmla="*/ 0 w 2285231"/>
              <a:gd name="connsiteY7" fmla="*/ 1332281 h 1480312"/>
              <a:gd name="connsiteX8" fmla="*/ 0 w 2285231"/>
              <a:gd name="connsiteY8" fmla="*/ 148031 h 148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5231" h="1480312">
                <a:moveTo>
                  <a:pt x="0" y="148031"/>
                </a:moveTo>
                <a:cubicBezTo>
                  <a:pt x="0" y="66276"/>
                  <a:pt x="66276" y="0"/>
                  <a:pt x="148031" y="0"/>
                </a:cubicBezTo>
                <a:lnTo>
                  <a:pt x="2137200" y="0"/>
                </a:lnTo>
                <a:cubicBezTo>
                  <a:pt x="2218955" y="0"/>
                  <a:pt x="2285231" y="66276"/>
                  <a:pt x="2285231" y="148031"/>
                </a:cubicBezTo>
                <a:lnTo>
                  <a:pt x="2285231" y="1332281"/>
                </a:lnTo>
                <a:cubicBezTo>
                  <a:pt x="2285231" y="1414036"/>
                  <a:pt x="2218955" y="1480312"/>
                  <a:pt x="2137200" y="1480312"/>
                </a:cubicBezTo>
                <a:lnTo>
                  <a:pt x="148031" y="1480312"/>
                </a:lnTo>
                <a:cubicBezTo>
                  <a:pt x="66276" y="1480312"/>
                  <a:pt x="0" y="1414036"/>
                  <a:pt x="0" y="1332281"/>
                </a:cubicBezTo>
                <a:lnTo>
                  <a:pt x="0" y="148031"/>
                </a:lnTo>
                <a:close/>
              </a:path>
            </a:pathLst>
          </a:custGeom>
        </p:spPr>
        <p:style>
          <a:lnRef idx="2">
            <a:schemeClr val="dk1">
              <a:hueOff val="0"/>
              <a:satOff val="0"/>
              <a:lumOff val="0"/>
              <a:alphaOff val="0"/>
            </a:schemeClr>
          </a:lnRef>
          <a:fillRef idx="1">
            <a:schemeClr val="dk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dk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18087" tIns="32518" rIns="32518" bIns="402596" numCol="1" spcCol="1270" anchor="t" anchorCtr="0">
            <a:noAutofit/>
          </a:bodyPr>
          <a:lstStyle/>
          <a:p>
            <a:pPr marL="228600" lvl="1" indent="-228600" defTabSz="10668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2000" dirty="0"/>
              <a:t>Massive data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/>
              <a:t>From infrastructure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/>
              <a:t>From social ecosystem</a:t>
            </a:r>
          </a:p>
          <a:p>
            <a:pPr marL="228600" lvl="1" indent="-228600" defTabSz="10668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2000" dirty="0"/>
              <a:t>Next gen service will process and analyze this data for its own evolution</a:t>
            </a:r>
          </a:p>
        </p:txBody>
      </p:sp>
      <p:sp>
        <p:nvSpPr>
          <p:cNvPr id="8" name="Freeform 7"/>
          <p:cNvSpPr/>
          <p:nvPr/>
        </p:nvSpPr>
        <p:spPr>
          <a:xfrm>
            <a:off x="0" y="4351749"/>
            <a:ext cx="3733800" cy="2125251"/>
          </a:xfrm>
          <a:custGeom>
            <a:avLst/>
            <a:gdLst>
              <a:gd name="connsiteX0" fmla="*/ 0 w 2285231"/>
              <a:gd name="connsiteY0" fmla="*/ 148031 h 1480312"/>
              <a:gd name="connsiteX1" fmla="*/ 148031 w 2285231"/>
              <a:gd name="connsiteY1" fmla="*/ 0 h 1480312"/>
              <a:gd name="connsiteX2" fmla="*/ 2137200 w 2285231"/>
              <a:gd name="connsiteY2" fmla="*/ 0 h 1480312"/>
              <a:gd name="connsiteX3" fmla="*/ 2285231 w 2285231"/>
              <a:gd name="connsiteY3" fmla="*/ 148031 h 1480312"/>
              <a:gd name="connsiteX4" fmla="*/ 2285231 w 2285231"/>
              <a:gd name="connsiteY4" fmla="*/ 1332281 h 1480312"/>
              <a:gd name="connsiteX5" fmla="*/ 2137200 w 2285231"/>
              <a:gd name="connsiteY5" fmla="*/ 1480312 h 1480312"/>
              <a:gd name="connsiteX6" fmla="*/ 148031 w 2285231"/>
              <a:gd name="connsiteY6" fmla="*/ 1480312 h 1480312"/>
              <a:gd name="connsiteX7" fmla="*/ 0 w 2285231"/>
              <a:gd name="connsiteY7" fmla="*/ 1332281 h 1480312"/>
              <a:gd name="connsiteX8" fmla="*/ 0 w 2285231"/>
              <a:gd name="connsiteY8" fmla="*/ 148031 h 148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5231" h="1480312">
                <a:moveTo>
                  <a:pt x="0" y="148031"/>
                </a:moveTo>
                <a:cubicBezTo>
                  <a:pt x="0" y="66276"/>
                  <a:pt x="66276" y="0"/>
                  <a:pt x="148031" y="0"/>
                </a:cubicBezTo>
                <a:lnTo>
                  <a:pt x="2137200" y="0"/>
                </a:lnTo>
                <a:cubicBezTo>
                  <a:pt x="2218955" y="0"/>
                  <a:pt x="2285231" y="66276"/>
                  <a:pt x="2285231" y="148031"/>
                </a:cubicBezTo>
                <a:lnTo>
                  <a:pt x="2285231" y="1332281"/>
                </a:lnTo>
                <a:cubicBezTo>
                  <a:pt x="2285231" y="1414036"/>
                  <a:pt x="2218955" y="1480312"/>
                  <a:pt x="2137200" y="1480312"/>
                </a:cubicBezTo>
                <a:lnTo>
                  <a:pt x="148031" y="1480312"/>
                </a:lnTo>
                <a:cubicBezTo>
                  <a:pt x="66276" y="1480312"/>
                  <a:pt x="0" y="1414036"/>
                  <a:pt x="0" y="1332281"/>
                </a:cubicBezTo>
                <a:lnTo>
                  <a:pt x="0" y="148031"/>
                </a:lnTo>
                <a:close/>
              </a:path>
            </a:pathLst>
          </a:custGeom>
        </p:spPr>
        <p:style>
          <a:lnRef idx="2">
            <a:schemeClr val="dk1">
              <a:hueOff val="0"/>
              <a:satOff val="0"/>
              <a:lumOff val="0"/>
              <a:alphaOff val="0"/>
            </a:schemeClr>
          </a:lnRef>
          <a:fillRef idx="1">
            <a:schemeClr val="dk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dk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2518" tIns="32518" rIns="718087" bIns="402596" numCol="1" spcCol="1270" anchor="t" anchorCtr="0">
            <a:noAutofit/>
          </a:bodyPr>
          <a:lstStyle/>
          <a:p>
            <a:pPr marL="228600" lvl="1" indent="-228600" defTabSz="10668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2000" dirty="0"/>
              <a:t>Prolific adoption of mobile devices</a:t>
            </a:r>
          </a:p>
          <a:p>
            <a:pPr marL="228600" lvl="1" indent="-228600" defTabSz="10668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2000" dirty="0"/>
              <a:t>Increase in mobile compute power</a:t>
            </a:r>
          </a:p>
          <a:p>
            <a:pPr marL="228600" lvl="1" indent="-228600" defTabSz="10668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2000" dirty="0"/>
              <a:t>Next gen services will mobile device for service consumption</a:t>
            </a:r>
          </a:p>
        </p:txBody>
      </p:sp>
      <p:sp>
        <p:nvSpPr>
          <p:cNvPr id="9" name="Freeform 8"/>
          <p:cNvSpPr/>
          <p:nvPr/>
        </p:nvSpPr>
        <p:spPr>
          <a:xfrm>
            <a:off x="5257800" y="1371600"/>
            <a:ext cx="3886200" cy="1830546"/>
          </a:xfrm>
          <a:custGeom>
            <a:avLst/>
            <a:gdLst>
              <a:gd name="connsiteX0" fmla="*/ 0 w 2285231"/>
              <a:gd name="connsiteY0" fmla="*/ 148031 h 1480312"/>
              <a:gd name="connsiteX1" fmla="*/ 148031 w 2285231"/>
              <a:gd name="connsiteY1" fmla="*/ 0 h 1480312"/>
              <a:gd name="connsiteX2" fmla="*/ 2137200 w 2285231"/>
              <a:gd name="connsiteY2" fmla="*/ 0 h 1480312"/>
              <a:gd name="connsiteX3" fmla="*/ 2285231 w 2285231"/>
              <a:gd name="connsiteY3" fmla="*/ 148031 h 1480312"/>
              <a:gd name="connsiteX4" fmla="*/ 2285231 w 2285231"/>
              <a:gd name="connsiteY4" fmla="*/ 1332281 h 1480312"/>
              <a:gd name="connsiteX5" fmla="*/ 2137200 w 2285231"/>
              <a:gd name="connsiteY5" fmla="*/ 1480312 h 1480312"/>
              <a:gd name="connsiteX6" fmla="*/ 148031 w 2285231"/>
              <a:gd name="connsiteY6" fmla="*/ 1480312 h 1480312"/>
              <a:gd name="connsiteX7" fmla="*/ 0 w 2285231"/>
              <a:gd name="connsiteY7" fmla="*/ 1332281 h 1480312"/>
              <a:gd name="connsiteX8" fmla="*/ 0 w 2285231"/>
              <a:gd name="connsiteY8" fmla="*/ 148031 h 148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5231" h="1480312">
                <a:moveTo>
                  <a:pt x="0" y="148031"/>
                </a:moveTo>
                <a:cubicBezTo>
                  <a:pt x="0" y="66276"/>
                  <a:pt x="66276" y="0"/>
                  <a:pt x="148031" y="0"/>
                </a:cubicBezTo>
                <a:lnTo>
                  <a:pt x="2137200" y="0"/>
                </a:lnTo>
                <a:cubicBezTo>
                  <a:pt x="2218955" y="0"/>
                  <a:pt x="2285231" y="66276"/>
                  <a:pt x="2285231" y="148031"/>
                </a:cubicBezTo>
                <a:lnTo>
                  <a:pt x="2285231" y="1332281"/>
                </a:lnTo>
                <a:cubicBezTo>
                  <a:pt x="2285231" y="1414036"/>
                  <a:pt x="2218955" y="1480312"/>
                  <a:pt x="2137200" y="1480312"/>
                </a:cubicBezTo>
                <a:lnTo>
                  <a:pt x="148031" y="1480312"/>
                </a:lnTo>
                <a:cubicBezTo>
                  <a:pt x="66276" y="1480312"/>
                  <a:pt x="0" y="1414036"/>
                  <a:pt x="0" y="1332281"/>
                </a:cubicBezTo>
                <a:lnTo>
                  <a:pt x="0" y="148031"/>
                </a:lnTo>
                <a:close/>
              </a:path>
            </a:pathLst>
          </a:custGeom>
        </p:spPr>
        <p:style>
          <a:lnRef idx="2">
            <a:schemeClr val="dk1">
              <a:hueOff val="0"/>
              <a:satOff val="0"/>
              <a:lumOff val="0"/>
              <a:alphaOff val="0"/>
            </a:schemeClr>
          </a:lnRef>
          <a:fillRef idx="1">
            <a:schemeClr val="dk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dk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18087" tIns="32518" rIns="32518" bIns="402596" numCol="1" spcCol="1270" anchor="t" anchorCtr="0">
            <a:noAutofit/>
          </a:bodyPr>
          <a:lstStyle/>
          <a:p>
            <a:pPr marL="228600" lvl="1" indent="-228600" algn="l" defTabSz="10668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2000" kern="1200" dirty="0" smtClean="0"/>
              <a:t>Customers and providers form a larger ecosystem</a:t>
            </a:r>
            <a:endParaRPr lang="en-US" sz="2000" kern="1200" dirty="0"/>
          </a:p>
          <a:p>
            <a:pPr marL="228600" lvl="1" indent="-228600" algn="l" defTabSz="10668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2000" kern="1200" dirty="0" smtClean="0"/>
              <a:t>Emergence of social network</a:t>
            </a:r>
            <a:endParaRPr lang="en-US" sz="2000" kern="1200" dirty="0"/>
          </a:p>
          <a:p>
            <a:pPr marL="228600" lvl="1" indent="-228600" algn="l" defTabSz="10668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2000" kern="1200" dirty="0" smtClean="0"/>
              <a:t>Customers decide the feature</a:t>
            </a:r>
            <a:endParaRPr lang="en-US" sz="2000" kern="1200" dirty="0"/>
          </a:p>
        </p:txBody>
      </p:sp>
      <p:sp>
        <p:nvSpPr>
          <p:cNvPr id="10" name="Freeform 9"/>
          <p:cNvSpPr/>
          <p:nvPr/>
        </p:nvSpPr>
        <p:spPr>
          <a:xfrm>
            <a:off x="0" y="1371600"/>
            <a:ext cx="3381290" cy="1480312"/>
          </a:xfrm>
          <a:custGeom>
            <a:avLst/>
            <a:gdLst>
              <a:gd name="connsiteX0" fmla="*/ 0 w 2285231"/>
              <a:gd name="connsiteY0" fmla="*/ 148031 h 1480312"/>
              <a:gd name="connsiteX1" fmla="*/ 148031 w 2285231"/>
              <a:gd name="connsiteY1" fmla="*/ 0 h 1480312"/>
              <a:gd name="connsiteX2" fmla="*/ 2137200 w 2285231"/>
              <a:gd name="connsiteY2" fmla="*/ 0 h 1480312"/>
              <a:gd name="connsiteX3" fmla="*/ 2285231 w 2285231"/>
              <a:gd name="connsiteY3" fmla="*/ 148031 h 1480312"/>
              <a:gd name="connsiteX4" fmla="*/ 2285231 w 2285231"/>
              <a:gd name="connsiteY4" fmla="*/ 1332281 h 1480312"/>
              <a:gd name="connsiteX5" fmla="*/ 2137200 w 2285231"/>
              <a:gd name="connsiteY5" fmla="*/ 1480312 h 1480312"/>
              <a:gd name="connsiteX6" fmla="*/ 148031 w 2285231"/>
              <a:gd name="connsiteY6" fmla="*/ 1480312 h 1480312"/>
              <a:gd name="connsiteX7" fmla="*/ 0 w 2285231"/>
              <a:gd name="connsiteY7" fmla="*/ 1332281 h 1480312"/>
              <a:gd name="connsiteX8" fmla="*/ 0 w 2285231"/>
              <a:gd name="connsiteY8" fmla="*/ 148031 h 148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85231" h="1480312">
                <a:moveTo>
                  <a:pt x="0" y="148031"/>
                </a:moveTo>
                <a:cubicBezTo>
                  <a:pt x="0" y="66276"/>
                  <a:pt x="66276" y="0"/>
                  <a:pt x="148031" y="0"/>
                </a:cubicBezTo>
                <a:lnTo>
                  <a:pt x="2137200" y="0"/>
                </a:lnTo>
                <a:cubicBezTo>
                  <a:pt x="2218955" y="0"/>
                  <a:pt x="2285231" y="66276"/>
                  <a:pt x="2285231" y="148031"/>
                </a:cubicBezTo>
                <a:lnTo>
                  <a:pt x="2285231" y="1332281"/>
                </a:lnTo>
                <a:cubicBezTo>
                  <a:pt x="2285231" y="1414036"/>
                  <a:pt x="2218955" y="1480312"/>
                  <a:pt x="2137200" y="1480312"/>
                </a:cubicBezTo>
                <a:lnTo>
                  <a:pt x="148031" y="1480312"/>
                </a:lnTo>
                <a:cubicBezTo>
                  <a:pt x="66276" y="1480312"/>
                  <a:pt x="0" y="1414036"/>
                  <a:pt x="0" y="1332281"/>
                </a:cubicBezTo>
                <a:lnTo>
                  <a:pt x="0" y="148031"/>
                </a:lnTo>
                <a:close/>
              </a:path>
            </a:pathLst>
          </a:custGeom>
        </p:spPr>
        <p:style>
          <a:lnRef idx="2">
            <a:schemeClr val="dk1">
              <a:hueOff val="0"/>
              <a:satOff val="0"/>
              <a:lumOff val="0"/>
              <a:alphaOff val="0"/>
            </a:schemeClr>
          </a:lnRef>
          <a:fillRef idx="1">
            <a:schemeClr val="dk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dk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2518" tIns="32518" rIns="718087" bIns="402596" numCol="1" spcCol="1270" anchor="t" anchorCtr="0">
            <a:noAutofit/>
          </a:bodyPr>
          <a:lstStyle/>
          <a:p>
            <a:pPr marL="228600" lvl="1" indent="-228600" algn="l" defTabSz="10668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2000" kern="1200" dirty="0" smtClean="0"/>
              <a:t>Infrastructure Sharing</a:t>
            </a:r>
            <a:endParaRPr lang="en-US" sz="2000" kern="1200" dirty="0"/>
          </a:p>
          <a:p>
            <a:pPr marL="228600" lvl="1" indent="-228600" algn="l" defTabSz="10668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2000" kern="1200" dirty="0" smtClean="0"/>
              <a:t>Provisioning of right sized infrastructure on-demand</a:t>
            </a:r>
            <a:endParaRPr lang="en-US" sz="2000" kern="1200" dirty="0"/>
          </a:p>
        </p:txBody>
      </p:sp>
      <p:grpSp>
        <p:nvGrpSpPr>
          <p:cNvPr id="18" name="Group 17"/>
          <p:cNvGrpSpPr/>
          <p:nvPr/>
        </p:nvGrpSpPr>
        <p:grpSpPr>
          <a:xfrm>
            <a:off x="2322968" y="2636807"/>
            <a:ext cx="4020849" cy="2361022"/>
            <a:chOff x="2322968" y="2636807"/>
            <a:chExt cx="4020849" cy="2361022"/>
          </a:xfrm>
        </p:grpSpPr>
        <p:grpSp>
          <p:nvGrpSpPr>
            <p:cNvPr id="17" name="Group 16"/>
            <p:cNvGrpSpPr/>
            <p:nvPr/>
          </p:nvGrpSpPr>
          <p:grpSpPr>
            <a:xfrm>
              <a:off x="2322968" y="2636807"/>
              <a:ext cx="4020849" cy="2361022"/>
              <a:chOff x="2322968" y="2636807"/>
              <a:chExt cx="4020849" cy="2361022"/>
            </a:xfrm>
          </p:grpSpPr>
          <p:sp>
            <p:nvSpPr>
              <p:cNvPr id="11" name="Freeform 10"/>
              <p:cNvSpPr/>
              <p:nvPr/>
            </p:nvSpPr>
            <p:spPr>
              <a:xfrm>
                <a:off x="2322968" y="2636807"/>
                <a:ext cx="2020431" cy="1130678"/>
              </a:xfrm>
              <a:custGeom>
                <a:avLst/>
                <a:gdLst>
                  <a:gd name="connsiteX0" fmla="*/ 0 w 1655418"/>
                  <a:gd name="connsiteY0" fmla="*/ 1368121 h 1368121"/>
                  <a:gd name="connsiteX1" fmla="*/ 1655418 w 1655418"/>
                  <a:gd name="connsiteY1" fmla="*/ 0 h 1368121"/>
                  <a:gd name="connsiteX2" fmla="*/ 1655418 w 1655418"/>
                  <a:gd name="connsiteY2" fmla="*/ 1368121 h 1368121"/>
                  <a:gd name="connsiteX3" fmla="*/ 0 w 1655418"/>
                  <a:gd name="connsiteY3" fmla="*/ 1368121 h 1368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55418" h="1368121">
                    <a:moveTo>
                      <a:pt x="0" y="1368121"/>
                    </a:moveTo>
                    <a:cubicBezTo>
                      <a:pt x="0" y="612529"/>
                      <a:pt x="741156" y="0"/>
                      <a:pt x="1655418" y="0"/>
                    </a:cubicBezTo>
                    <a:lnTo>
                      <a:pt x="1655418" y="1368121"/>
                    </a:lnTo>
                    <a:lnTo>
                      <a:pt x="0" y="1368121"/>
                    </a:lnTo>
                    <a:close/>
                  </a:path>
                </a:pathLst>
              </a:custGeom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84861" tIns="400713" rIns="0" bIns="0" numCol="1" spcCol="1270" anchor="t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000" b="1" dirty="0">
                    <a:ln w="17780" cmpd="sng">
                      <a:solidFill>
                        <a:srgbClr val="FFFFFF"/>
                      </a:solidFill>
                      <a:prstDash val="solid"/>
                      <a:miter lim="800000"/>
                    </a:ln>
                    <a:gradFill rotWithShape="1">
                      <a:gsLst>
                        <a:gs pos="0">
                          <a:srgbClr val="000000">
                            <a:tint val="92000"/>
                            <a:shade val="100000"/>
                            <a:satMod val="150000"/>
                          </a:srgbClr>
                        </a:gs>
                        <a:gs pos="49000">
                          <a:srgbClr val="000000">
                            <a:tint val="89000"/>
                            <a:shade val="90000"/>
                            <a:satMod val="150000"/>
                          </a:srgbClr>
                        </a:gs>
                        <a:gs pos="50000">
                          <a:srgbClr val="000000">
                            <a:tint val="100000"/>
                            <a:shade val="75000"/>
                            <a:satMod val="150000"/>
                          </a:srgbClr>
                        </a:gs>
                        <a:gs pos="95000">
                          <a:srgbClr val="000000">
                            <a:shade val="47000"/>
                            <a:satMod val="150000"/>
                          </a:srgbClr>
                        </a:gs>
                        <a:gs pos="100000">
                          <a:srgbClr val="000000">
                            <a:shade val="39000"/>
                            <a:satMod val="150000"/>
                          </a:srgbClr>
                        </a:gs>
                      </a:gsLst>
                      <a:lin ang="5400000"/>
                    </a:gradFill>
                    <a:effectLst>
                      <a:outerShdw blurRad="50800" algn="tl" rotWithShape="0">
                        <a:srgbClr val="000000"/>
                      </a:outerShdw>
                    </a:effectLst>
                  </a:rPr>
                  <a:t>Virtualized Infrastructure</a:t>
                </a:r>
              </a:p>
            </p:txBody>
          </p:sp>
          <p:sp>
            <p:nvSpPr>
              <p:cNvPr id="12" name="Freeform 11"/>
              <p:cNvSpPr/>
              <p:nvPr/>
            </p:nvSpPr>
            <p:spPr>
              <a:xfrm>
                <a:off x="4419600" y="2636808"/>
                <a:ext cx="1924217" cy="1130679"/>
              </a:xfrm>
              <a:custGeom>
                <a:avLst/>
                <a:gdLst>
                  <a:gd name="connsiteX0" fmla="*/ 0 w 1368121"/>
                  <a:gd name="connsiteY0" fmla="*/ 1655418 h 1655418"/>
                  <a:gd name="connsiteX1" fmla="*/ 1368121 w 1368121"/>
                  <a:gd name="connsiteY1" fmla="*/ 0 h 1655418"/>
                  <a:gd name="connsiteX2" fmla="*/ 1368121 w 1368121"/>
                  <a:gd name="connsiteY2" fmla="*/ 1655418 h 1655418"/>
                  <a:gd name="connsiteX3" fmla="*/ 0 w 1368121"/>
                  <a:gd name="connsiteY3" fmla="*/ 1655418 h 1655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8121" h="1655418">
                    <a:moveTo>
                      <a:pt x="0" y="1"/>
                    </a:moveTo>
                    <a:cubicBezTo>
                      <a:pt x="755592" y="1"/>
                      <a:pt x="1368121" y="741156"/>
                      <a:pt x="1368121" y="1655417"/>
                    </a:cubicBezTo>
                    <a:lnTo>
                      <a:pt x="0" y="1655417"/>
                    </a:lnTo>
                    <a:lnTo>
                      <a:pt x="0" y="1"/>
                    </a:lnTo>
                    <a:close/>
                  </a:path>
                </a:pathLst>
              </a:custGeom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" tIns="400713" rIns="484861" bIns="1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2000" kern="1200" dirty="0"/>
              </a:p>
            </p:txBody>
          </p:sp>
          <p:sp>
            <p:nvSpPr>
              <p:cNvPr id="13" name="Freeform 12"/>
              <p:cNvSpPr/>
              <p:nvPr/>
            </p:nvSpPr>
            <p:spPr>
              <a:xfrm>
                <a:off x="4419600" y="3848100"/>
                <a:ext cx="1924217" cy="1130679"/>
              </a:xfrm>
              <a:custGeom>
                <a:avLst/>
                <a:gdLst>
                  <a:gd name="connsiteX0" fmla="*/ 0 w 1655418"/>
                  <a:gd name="connsiteY0" fmla="*/ 1368121 h 1368121"/>
                  <a:gd name="connsiteX1" fmla="*/ 1655418 w 1655418"/>
                  <a:gd name="connsiteY1" fmla="*/ 0 h 1368121"/>
                  <a:gd name="connsiteX2" fmla="*/ 1655418 w 1655418"/>
                  <a:gd name="connsiteY2" fmla="*/ 1368121 h 1368121"/>
                  <a:gd name="connsiteX3" fmla="*/ 0 w 1655418"/>
                  <a:gd name="connsiteY3" fmla="*/ 1368121 h 1368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55418" h="1368121">
                    <a:moveTo>
                      <a:pt x="1655418" y="0"/>
                    </a:moveTo>
                    <a:cubicBezTo>
                      <a:pt x="1655418" y="755592"/>
                      <a:pt x="914262" y="1368121"/>
                      <a:pt x="0" y="1368121"/>
                    </a:cubicBezTo>
                    <a:lnTo>
                      <a:pt x="0" y="0"/>
                    </a:lnTo>
                    <a:lnTo>
                      <a:pt x="1655418" y="0"/>
                    </a:lnTo>
                    <a:close/>
                  </a:path>
                </a:pathLst>
              </a:custGeom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0" tIns="1" rIns="484861" bIns="400713" numCol="1" spcCol="1270" anchor="ctr" anchorCtr="0">
                <a:noAutofit/>
              </a:bodyPr>
              <a:lstStyle/>
              <a:p>
                <a:pPr lvl="0" algn="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400" b="1" dirty="0">
                    <a:ln w="17780" cmpd="sng">
                      <a:solidFill>
                        <a:srgbClr val="FFFFFF"/>
                      </a:solidFill>
                      <a:prstDash val="solid"/>
                      <a:miter lim="800000"/>
                    </a:ln>
                    <a:gradFill rotWithShape="1">
                      <a:gsLst>
                        <a:gs pos="0">
                          <a:srgbClr val="000000">
                            <a:tint val="92000"/>
                            <a:shade val="100000"/>
                            <a:satMod val="150000"/>
                          </a:srgbClr>
                        </a:gs>
                        <a:gs pos="49000">
                          <a:srgbClr val="000000">
                            <a:tint val="89000"/>
                            <a:shade val="90000"/>
                            <a:satMod val="150000"/>
                          </a:srgbClr>
                        </a:gs>
                        <a:gs pos="50000">
                          <a:srgbClr val="000000">
                            <a:tint val="100000"/>
                            <a:shade val="75000"/>
                            <a:satMod val="150000"/>
                          </a:srgbClr>
                        </a:gs>
                        <a:gs pos="95000">
                          <a:srgbClr val="000000">
                            <a:shade val="47000"/>
                            <a:satMod val="150000"/>
                          </a:srgbClr>
                        </a:gs>
                        <a:gs pos="100000">
                          <a:srgbClr val="000000">
                            <a:shade val="39000"/>
                            <a:satMod val="150000"/>
                          </a:srgbClr>
                        </a:gs>
                      </a:gsLst>
                      <a:lin ang="5400000"/>
                    </a:gradFill>
                    <a:effectLst>
                      <a:outerShdw blurRad="50800" algn="tl" rotWithShape="0">
                        <a:srgbClr val="000000"/>
                      </a:outerShdw>
                    </a:effectLst>
                  </a:rPr>
                  <a:t>Analytics</a:t>
                </a:r>
              </a:p>
            </p:txBody>
          </p:sp>
          <p:sp>
            <p:nvSpPr>
              <p:cNvPr id="14" name="Freeform 13"/>
              <p:cNvSpPr/>
              <p:nvPr/>
            </p:nvSpPr>
            <p:spPr>
              <a:xfrm>
                <a:off x="2419182" y="3867150"/>
                <a:ext cx="1924217" cy="1130679"/>
              </a:xfrm>
              <a:custGeom>
                <a:avLst/>
                <a:gdLst>
                  <a:gd name="connsiteX0" fmla="*/ 0 w 1368121"/>
                  <a:gd name="connsiteY0" fmla="*/ 1655418 h 1655418"/>
                  <a:gd name="connsiteX1" fmla="*/ 1368121 w 1368121"/>
                  <a:gd name="connsiteY1" fmla="*/ 0 h 1655418"/>
                  <a:gd name="connsiteX2" fmla="*/ 1368121 w 1368121"/>
                  <a:gd name="connsiteY2" fmla="*/ 1655418 h 1655418"/>
                  <a:gd name="connsiteX3" fmla="*/ 0 w 1368121"/>
                  <a:gd name="connsiteY3" fmla="*/ 1655418 h 1655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8121" h="1655418">
                    <a:moveTo>
                      <a:pt x="1368121" y="1655417"/>
                    </a:moveTo>
                    <a:cubicBezTo>
                      <a:pt x="612529" y="1655417"/>
                      <a:pt x="0" y="914262"/>
                      <a:pt x="0" y="1"/>
                    </a:cubicBezTo>
                    <a:lnTo>
                      <a:pt x="1368121" y="1"/>
                    </a:lnTo>
                    <a:lnTo>
                      <a:pt x="1368121" y="1655417"/>
                    </a:lnTo>
                    <a:close/>
                  </a:path>
                </a:pathLst>
              </a:custGeom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84862" tIns="142240" rIns="0" bIns="542954" numCol="1" spcCol="1270" anchor="ctr" anchorCtr="0">
                <a:noAutofit/>
              </a:bodyPr>
              <a:lstStyle/>
              <a:p>
                <a:pPr lvl="0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400" b="1" dirty="0">
                    <a:ln w="17780" cmpd="sng">
                      <a:solidFill>
                        <a:srgbClr val="FFFFFF"/>
                      </a:solidFill>
                      <a:prstDash val="solid"/>
                      <a:miter lim="800000"/>
                    </a:ln>
                    <a:gradFill rotWithShape="1">
                      <a:gsLst>
                        <a:gs pos="0">
                          <a:srgbClr val="000000">
                            <a:tint val="92000"/>
                            <a:shade val="100000"/>
                            <a:satMod val="150000"/>
                          </a:srgbClr>
                        </a:gs>
                        <a:gs pos="49000">
                          <a:srgbClr val="000000">
                            <a:tint val="89000"/>
                            <a:shade val="90000"/>
                            <a:satMod val="150000"/>
                          </a:srgbClr>
                        </a:gs>
                        <a:gs pos="50000">
                          <a:srgbClr val="000000">
                            <a:tint val="100000"/>
                            <a:shade val="75000"/>
                            <a:satMod val="150000"/>
                          </a:srgbClr>
                        </a:gs>
                        <a:gs pos="95000">
                          <a:srgbClr val="000000">
                            <a:shade val="47000"/>
                            <a:satMod val="150000"/>
                          </a:srgbClr>
                        </a:gs>
                        <a:gs pos="100000">
                          <a:srgbClr val="000000">
                            <a:shade val="39000"/>
                            <a:satMod val="150000"/>
                          </a:srgbClr>
                        </a:gs>
                      </a:gsLst>
                      <a:lin ang="5400000"/>
                    </a:gradFill>
                    <a:effectLst>
                      <a:outerShdw blurRad="50800" algn="tl" rotWithShape="0">
                        <a:srgbClr val="000000"/>
                      </a:outerShdw>
                    </a:effectLst>
                  </a:rPr>
                  <a:t>Mobile</a:t>
                </a:r>
              </a:p>
            </p:txBody>
          </p:sp>
          <p:sp>
            <p:nvSpPr>
              <p:cNvPr id="15" name="Circular Arrow 14"/>
              <p:cNvSpPr/>
              <p:nvPr/>
            </p:nvSpPr>
            <p:spPr>
              <a:xfrm>
                <a:off x="3895153" y="3560018"/>
                <a:ext cx="972693" cy="601376"/>
              </a:xfrm>
              <a:prstGeom prst="circularArrow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3" name="Rectangle 2"/>
              <p:cNvSpPr/>
              <p:nvPr/>
            </p:nvSpPr>
            <p:spPr>
              <a:xfrm>
                <a:off x="4733641" y="3195935"/>
                <a:ext cx="981359" cy="46166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sz="2400" b="1" kern="1200" cap="none" spc="0" dirty="0" smtClean="0">
                    <a:ln w="17780" cmpd="sng">
                      <a:solidFill>
                        <a:srgbClr val="FFFFFF"/>
                      </a:solidFill>
                      <a:prstDash val="solid"/>
                      <a:miter lim="800000"/>
                    </a:ln>
                    <a:gradFill rotWithShape="1">
                      <a:gsLst>
                        <a:gs pos="0">
                          <a:srgbClr val="000000">
                            <a:tint val="92000"/>
                            <a:shade val="100000"/>
                            <a:satMod val="150000"/>
                          </a:srgbClr>
                        </a:gs>
                        <a:gs pos="49000">
                          <a:srgbClr val="000000">
                            <a:tint val="89000"/>
                            <a:shade val="90000"/>
                            <a:satMod val="150000"/>
                          </a:srgbClr>
                        </a:gs>
                        <a:gs pos="50000">
                          <a:srgbClr val="000000">
                            <a:tint val="100000"/>
                            <a:shade val="75000"/>
                            <a:satMod val="150000"/>
                          </a:srgbClr>
                        </a:gs>
                        <a:gs pos="95000">
                          <a:srgbClr val="000000">
                            <a:shade val="47000"/>
                            <a:satMod val="150000"/>
                          </a:srgbClr>
                        </a:gs>
                        <a:gs pos="100000">
                          <a:srgbClr val="000000">
                            <a:shade val="39000"/>
                            <a:satMod val="150000"/>
                          </a:srgbClr>
                        </a:gs>
                      </a:gsLst>
                      <a:lin ang="5400000"/>
                    </a:gradFill>
                    <a:effectLst>
                      <a:outerShdw blurRad="50800" algn="tl" rotWithShape="0">
                        <a:srgbClr val="000000"/>
                      </a:outerShdw>
                    </a:effectLst>
                  </a:rPr>
                  <a:t>Social</a:t>
                </a:r>
                <a:endParaRPr lang="en-US" sz="2400" b="1" cap="none" spc="0" dirty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</a:endParaRPr>
              </a:p>
            </p:txBody>
          </p:sp>
        </p:grpSp>
        <p:sp>
          <p:nvSpPr>
            <p:cNvPr id="16" name="Circular Arrow 15"/>
            <p:cNvSpPr/>
            <p:nvPr/>
          </p:nvSpPr>
          <p:spPr>
            <a:xfrm rot="10800000">
              <a:off x="3895153" y="3657600"/>
              <a:ext cx="972693" cy="601376"/>
            </a:xfrm>
            <a:prstGeom prst="circularArrow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dk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dk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</p:spTree>
    <p:extLst>
      <p:ext uri="{BB962C8B-B14F-4D97-AF65-F5344CB8AC3E}">
        <p14:creationId xmlns:p14="http://schemas.microsoft.com/office/powerpoint/2010/main" val="1793171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1026" name="Picture 2" descr="CRM The World's Favorite Customer Relationship Management - Salesforce.com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5999" y="2934593"/>
            <a:ext cx="1047750" cy="819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t3.gstatic.com/images?q=tbn:ANd9GcQjj0s5D8P_C7X0gNu6uYyYwl2cFu3mG9fzXHAdP_8yzHOUMMS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400" y="1436926"/>
            <a:ext cx="990600" cy="990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8" descr="data:image/jpeg;base64,/9j/4AAQSkZJRgABAQAAAQABAAD/2wCEAAkGBhQREBUUDxQUEBIVEBUUFRQWFBAUFBIUFRYXFBgUFRcXGygeFxkjGhIVIC8gIycpLC0sFR4xNTAqNSYrLCkBCQoKDgwOGg8PGi0gHCQpLiwvKSkqLyo1LCkpLCoqNSwpMiksNSwvNCktNSwsKSwsLCwqLCwsLCwsLC8tKiwsLP/AABEIAIcBdAMBIgACEQEDEQH/xAAcAAACAgMBAQAAAAAAAAAAAAAABwUGAwQIAgH/xABREAABAwIBBQgLCwsDBQEAAAABAAIDBBESBQYHITETQVFhcXOBsiIyMzQ1cnSRobGzFBcjJUJSkpPBwtIWJENTVGKCg4Si0WOj4USktMPTFf/EABsBAQACAwEBAAAAAAAAAAAAAAADBAIFBgEH/8QAOhEAAgEDAAUJBgUDBQAAAAAAAAECAwQRBRIhMVEGMkFhcYGRscETMzRyodEUFSIj4SRC8DVSYoKS/9oADAMBAAIRAxEAPwB4oQhACEIQAhCEAIQhACEIQAhCEAIQhACEIQAhC+OdYXOoDWgMdVVsiYXyODGNFy4mwCouV9J9iW0kYI/WSX18YYNfnPQq9ndnO6rlIaSIGHsG/O3sZ4zvcA6VALXVblt4huO00foOnGKncLMn0dC7eL+hYJc/Kx36XDxBkY+y61n53VZ/6iQchaPUFEIVV1JvpZvY2dvHdTj/AOUSL85Ko7aib6bh6lidlmc7Z5vrZf8AK00LHWfEkVCmt0V4Izur5DtkkPLJIftWN1Q47XOPK5x+1eELzJIoxW5ATfbrQhCGQIQhAC+tbdfEIeGVtMTvjzrMyhfvEDkcQtdkpC2oapZLBFPXW4yMoZvkuPRIR9qzspKr5MknRO4feXqKqW7DVKRJFKdSouheBqsjrhskm+vcfvLM2bKQ2PqD/Hf7VIw1S3YapSKC4sozuJLfTi+4hW5Uym35U55Wtd9i+nPPKERBkJA/1IQAenCPWrNDVLcjqbix1jgOsFSKD6JMpyuqf99CD7sehFZG0mtcQ2qZud/0jLlvS06wOS6u8MzXtDmEOaRcEG4IO+CqFlrM+OYF0AEUm2w1MfxEfJPGFGZm5xvpJ9wnuInPwkO/RPJti4hfb5+WSNWUHq1N3ErV9H0Lmm6tpskt8Pt/ngNNCEK4c0CEIQAhCEBTHaWKMEgiYEEgjc9hGojtluZH0iUtVM2GLdA997YmWGoF1r34AlZpIyX7myhJYWZLaZv8d8X94d6FB5GyruFRFKP0crXHjAPZDpFwgOll5kkDQS42ABJPABrKGPBAI1gi4PCDvqvaQ8p7hk6d17Oczcm8shweonzICO99qi/1vqx+JSeb+fFPWymOASYgwvJcwNAAIG2/C4Ln7dU3dDOTbU8s5GuSQMb4se3+5x+igGKhCEAIQhACEIQAhCEAIQhACr+fdcYqGTDqL7R34nnX/aD51YFSdKU9oImfOlJ6GtP2uCirPFNsv6Np+0u6cXxz4bRbLfyVm9UVZcKYRnAAXY3lnbXtawN+1K0FfNFXb1HixeuRaujFTmkzvNJV529tKpDeseaRBe91lD5lP9c78CPe6yh8yn+ud+BOBC2H4Wmch+fXfFeAn/e6yh8yn+ud+BHvdZQ+ZT/XO/AnAhPwtMfn13xXgJbKOZ9XTRmSdsQjBAOGQuddxDRqwjfKiU2dIneD/Hi9o1KZUbimoSwjqNEXdS6oOdTfrY+iBCEKA24IQhAb2SsgT1ZcKYRksALsby3U69rWBvsKkfe6yh8yn+ud+BTeiruk/iR+t6Yqv0aEJwTZyGktLXFvcypwawsdHUmc/tOroX1eWbByD1L0qB1xkZNZbcNUtBAK9TwYSpqRORVS3YqpVyOostyGqUimUqluWWKqW7FVKtQ1S3YapTRmayrbFliqlWs96EHDM3aTgfx6uxPoI8y3YapYsuvx0zxwWd5iFnN60WiG2g6NeMlxx3MuualeZqOF7u2wYTxlhLCenDfpUsqlo0nxUZHzZnDoIDvtKtquUnmCfUc1fU1TuakFu1mCEIUhTBCEIBb6a8j46WOoaNcMmF3iSWF+h4b9JJjdV1Bl3JQqqaWB2ySJzL8BI1HoNj0LluaEscWvFnNcWuHA5psR5wUB0fo7yr7oybTvvdzWbm7xozg9IaD0qn6csrYWU8APbOdK4cTRgb1neZedBWVbsqKcntXNmaOJwwO9LG+dU/SvlTd8qSgG7Yg2Efwi7v73u8yAq26rpnNTJXuWigh2FkQxeO7sn/3OKQGYGSPdOUaeMi7RIJH+LH2ZB5S0DpXSqAEKv52Z70+TmgzkukcLsiZYvdx8DW8Z9KW1Zp0qC47jTwsbvYzI93nBaPQgHShJ7JmnV+L86p2lt9sTnBw48L7h3nCaOQ8vQ1kIlpniRh1Hec077XA62niQEghCX+e2lI5PqtwFOJvgmPxGUs7YuFrYD83h30AwEJZ5t6YnVdXFAaYR7q/Di3Yuw9iXXtgF+14UzEAISsyvprdBUSxe5Q7cpnx4t2IxYHFt7YNV7KZzE0lHKVQ+IwCHDCZMQkL72c1trYR870IC9JdaVJryQN4GPd9ItH3ExUrtJsl6xo4IG+lziq10/wBs3ego5vIvgn5YKit3JmWpqfFuDzHitisGm9r22g8JWkhatNrajvZwjNasllcHtJv8tqz9e76MX4UxsycoST0bXzOL3l7wXEAag4gbAk8mzo67wZzknXKuWs5Oe19BzWnrelTtk4QSestyS6GT2UJC2GRzTYiN5B4CGkgpRNz2rLD4d2z5sX4U28q9wl5p/VKRDNg5As7uTTWGV+T9CnVjU14p7VvSfHiS1dnPUzsLJpS9hIJaQwXsbjY2+0KLXuGLG5rb2xPa2+22Jwbe2/tV096J/wC2/wDbt/8Aoqkac6u1bTfVrq1sMRl+nO3YvsUhCls482TQyNY6Xd8TMd8AjtrItYON9i1si5INVOyEP3Ivxdnhx2wsc/tbi/a2276xcGpavSWY3VOVH26f6cN9yNJCu/vRP/bf+3b/APRVPK+SzTTvhL91LCBjw4cVwDsubbeFZTozgsyILXSNvdScKTy8Z3Mt+iruk/iR+t6YqXWiruk/iR+t6Yq2Nt7tHGab+Nn3eSOfmbByD1L0pHNzNeeu7jaOIWDp3glt99rG6sbhygDhVvbohjw66qox8IEIb9HDs6VQhQnNZSOuuNLW1vLUlLL6tuBfoUnl/NqahkDJSJGOvucrRhDrbWub8lw22uQRs37RiilFxeGX6NaFaCqU3lMF9DrL4xjnOayNrpJHmzGNF3OPF/nYFccmaKpngOq59xv+jha1xHLI7Vfkb0rKFKU+aivdX1C1X7stvDpKtHUrciqlbZNEUVuwqqhp4TuLhfjGAetVjL2aNTQjG+08A2zMBaWc4wk4RxgkcNlLKjUgsspUtJ2lxLUi8Pr2GeGqWeebFG8cLHD0KBiqluR1KwUyxO3w8lt0VTdhO3gex30gR9xXxLjRZJaaZvDG0/RcR95XPLlbUxhvuOnZVEk4w+oEGC1rW+Ddivr4LWWwtnmmjjtNR1b2fXjyRKIVMzXz0q6yJs5oo4qZwlvJ7sD3jci9nc9xF7vjtt2G/Et7MLPQZTpTNuRp3tfhdEX4yAWtkY7FhbcOY9p2b6sGoLKhLVmmZrnyhtMSyOd0bH7tbdWCxbIBufYhwIIGvUhAMpc96V8i+58pSECzJwJm8rtTx9JpP8QXQiWmnDJGOliqANcUuBx/cl1ddrfpIBfaNcvCkygx8hwxujkY8/u4cY/ujaq3WVZlkfI/tpHueeVxLj61iXxANjQVkjsqipI2BsLDy2e/1Rpp5Wyi2ngkmf2scbnnjwi9hxnZ0qD0b5H9zZNgaRZ72bq/xpOy9DS0fwrV0t1ODJM1vluiZ0Okbf0AoBD5YyvJVTvmnOJ73XPABvNbwNA1DkW7m/mfVV2I0sRe1ps55LWMB24buOs8QUMujNGFI2PJVNhHbsMjuNz3F2vzgdAQCByzkOaklMVTGYn2vY2IcD8ppGojkU1o6zodRVrCXWhlc2OUb2FxsH8rSb34LjfV907UYNPTy27Js7o78T2F1vPEkyXW1je1oDrZIXTR4U/pYutInhkqcvgiedromOPK5oP2pH6aPCn9LF1pEBD6OfCtJz33HrpJc26OfCtJz33HrpJAcv52d/1Xlc3tHK46DO/5vJD7SNU7Ozv+q8rm9o5XHQZ3/N5IfaRoB3pTaRXfn7uKKMegn7U2UotIHhCTxY+oFUu+Z3nQcnl/VP5X5orqEIWsO7BNnR13gznJOuUpk2dHXeDOck65Vu05/cc9yh+FXzLyZOZV7hLzT+qUiGbByBPfKvcJeaf1SkQzYOQLO83orcm+ZU7V6mzQd2j56PrtT4SHoO7R89H12p8LKz3Mg5Sc+n2P0FnpR75i5g9cqLzE8IQ/zPZSKU0o98xcweuVF5ieEIf5nspFDP3/AHo2Nv8A6S/kl6jgSbz17/n8dvUanIk3nr3/AD+O3qNVi75i7TT8nfiZfL6on9FXdJ/Ej9b0xUutFXdJ/Ej9b0xVJbe7RU038bPu8kQEmcdFRhsAe1gYA0MY1zgwDVY4QbH0qbpqlsjA+MhzXC4cNYISDYdQ5AmjoxqC6kc0m+CZwHEHNa63nLj0qOjcOctVouaT0RC1oKrGTbztz1m7n9RCSgluLmPDI3iLTr/tLh0pRJ2ZzNvRVF/2eT0NJSSOxQ3i/UmbHk5JujOPB+aGXo1yA1kPul4vJLcNJ+TEDYAcGIjEeEYeBW+rq2RML5XBjGi5cdQC18hwhlNC0asMMY/tCqulKqIihYDYOkc4jhwAW9L/AFK3n2VLZ0HPKLv73Vk+dJ+C/gn8nZ3U08m5xSXedgLXNxclxr5FLvYHAhwBBFiCLgg7QRvhIWGYscHNNnNcHA8BBuD6E+Yn3aDwgHz61jQrOonkn0to6FlKLpttPO/ihL5z5EFJVPib3PU+PiY6/Y/wkOHIAo5kpCu2lSC0sD98skb9EtP31Rlr60dWbSOv0bVde1hOW/HlsLfoxd+dv44HddhTQSq0bO/PeWF/raU1VftfdnJafWLvuRR9GZ+I2clX/wCTOqhk2pko6SlMGp2UskwU0ZA2VrMMUbydg+CncePcE5I4Gtbha0Nbr1AADXrOocZPnXkUrLNAa2zO1GEWZYW7Hg1HeVo0Qhs4aFlPXVMMepkToI2j91lHTNHoCE930MZJJYwk7SWtJOq2s216gPMhAZ1D54ZM900FRFa5dC7D47Rib/c0KYQgOSVJZt5K91VcMG9JK1ruJl7vP0QVp1jQJHgagJHgDgAcQArhofb8ax8UUpHF2NvtQD/a0AWGoAWA4AqPpl8Fu5+HrK8qjaZfBbufh6yAQYXSejvwVSeTtXNgXSejvwVSeTtQFa0594Q+Wt9jMkgU79OfeEPlrfYzJIFAdSZsm9FTX/Zouo1JfTR4U/pYutInPmx3jTeSxdRqTGmjwp/SxdaRAQ+jnwrSc99x66SXNujnwrSc99x66SQHL+dnf9V5XN7RyuOgzv8Am8kPtI1Ts7O/6ryub2jlcdBnf83kh9pGgHelBn6PjCW/AzzYGpvpRaQB8YSeLH1Aql3zO86Hk78VL5X5orqEIWsO6BNnR13gznJOuUpk2dHXeDOck65Vu05/cc9yh+FXzLyZOZV7hLzT+qUiGbByBPfKvcJeaf1SkQzYOQLO83orcm+ZU7V6mzQd2j56PrtT4SHoO7R89H12p8LKz3Mg5Sc+n2P0FnpR75i5g9cqLzE8IQ/zPZSKU0o98xcweuVFZieEIf5nspFDP3/ejY2/+kv5Jeo4Um89e/5/Hb1GpyJN569/z+O3qNVi75i7TT8nfiZfL6on9FXdJ/Ej9b0xUutFXdJ/Ej9b0xVJbe7RU038bPu8kc/M2DkHqTL0Wdwl54dRqWjNg5B6ky9FncJeeHUaqVr7w6fTvwb7UWbOHvSfyeX2bkj3bOhPDOHvSfyeX2bkj3bOhSXm9FLk37up2oe+Te4x80zqhV3PrNaatEXud8TMBfi3THrxYLWwj90qxZM7jHzTOqF5r8rQwW3eRkWK+HE4Nva17X5R51eklKOJbjl6NSpSr69LnJvGzIs/esrf1tL/AL34U1IWWaAd5oHmCjPyspP2mH6xqPyspP2mH6xqjgqcOa/qWrqpe3WPaxbx/wAePcVXSt/0/wDO/wDUqArppHyrDPuG4SMlw7riwuDrX3O17eKfMqWtfcNOo8HY6HjKFnBSWHt39rLTo37+/kv+xNZKvRq389PFC/1tCaiu2vu+85jlB8X/ANV6ghCFaNCCEIQAhCEByjX91k51/WKt2h7wqzmZeqqjX91k51/WKt2h7wqzmZeqgOgFRtMvgt3Pw9ZXlUvS/AXZJlI+TJE7oEjQfQUBz8F0no78FUnk7VzYuj9GswdkqltvQ4Tysc5p9LSgK9pz7wh8tb7GZJAp1adagCkp2b5qS8cNmRvafaDzpKu2dCA6jzY7xpvJYuo1JjTR4U/pYutIndkaMtpoWnaIIweUMASR00eFP6WLrSICH0c+FaTnvuPXSS5t0deFaTnvuPXSLnWFzqA3+BAcwZ2d/wBV5XN7RyuOgzv+byQ+0jVKzkqGyVlQ9hDmOqZXNcNjml7iCOKyuugzv+byQ+0jQDvSk0ki1e7jijPrH2JtpVaVm2q4zw049D3D/Cq3S/bN7oGWLvtTKhiRiWHGjGtWd3kzYk3dHB+L2c5J1yk5jTh0an4vZ48nXKt2nP7jn+UD/pV8y8mT+Ve4S8y/qlIRjtQ5An1lbveXmX9Urn9j9Q5As7zeitycf6KnavU38nu+Gi56PrtT8XPuTn/DRc9F12roJZWe5kPKN/rp9j9BY6VD+cxcweuVFZgu+MYf5nspFI6WHfnMXMHrlRejtpdlGLCC4NbI55GxjTG9gJ4LucAopL9/vRsKEktE7f8AZL1HMkxnu74wn8dvUanOknn074xn8dvUarF3zF2mo5PfEy+X1RZdE5+EqPEj9b0x0tdEZ+EqPEj9b0ylnbe7RU018bPu8kc9MdqHIPUmdoqP5vNz46jUq2P1DkHqTU0Ts/NZHcNQQP4WM+0+hU7X3h02nZf0j7UWfOHvSo8ml9m5Itz9XQnjnMbUVR5NL1CkQX6lJeb0U+Tnu59qOgcmdxj5pnVCo+lh2qn5ZfVGrrkeTFTwuGwwxn+0KlaXIzudO7eEkjb713NDgP8AbPmVivtpM0ui3q38c8X5MXuNbf8A+JWfsdV9X/yo5puQNtyBy3NrLohoVKhRVTOTptK6SnZ6mok8539WBBVFHNFbd4ZYL3w7o3Dita9uG1x51hxK/aXHa6b+d/6/8Jd41HVgoTcUXrC5lc28aslhvP0bRedFovVyHgpz6XsTRS00SR3kqHcEcY+k5x+4mWthbL9tHHaclm8l1JeQIQhWTSghCEAIQhAco1/dZOdf1irdoe8Ks5mXqraqtDle6R7gIbF7iPhd4uJ+bxqwaPdG9XRVzZp9ywCN7ThfiN3Cw1WQDWUdnFkkVVJNAdW6ROaCdgdbsT0OAPQpFCA5PqqV0T3RyNLHscWuadrXA2IVmzQ0jVGTmOjjayaIuxYH4hhcdpa4bL21jX0b7Vz60ZxZQO6xuEFTa2O12SAbBIBrvvYhr5dSV1bonyjGSBCJRfto5IyDxgOIPnCAis687psozCSfCA0YWMaCGMB1m1zck75K+5mZAdW1sUIBLcYfIfmxNILieC+wcbgpzJeh6vlcN1aynbvue9riBxNYSSeW3Km9mhmXDk6Ithu97rbpK62J5GwfutFzYce+gLAEidNkJGUmuOx1LHb+F0g+1PZUnSXmEcoxsfAWtqIrgB2psjDrLCd43Fwdms323ACJyblB9PNHNFYPje17b6xdpvrG+N7pVqzl0qVdbHuIDII3Cz2xYy6S+rCXHXhPANvGsEWirKLn4fc+HX2xkiw8tw7X0Jl5jaKo6JwmqS2eoGttgdziPC0HW537xtxAIBFzwOY9zHgte1xa5p1FrgbEHjBTD0Gd/wA3kh9pGveXtEldNVTysEOCSeR7byWOFzy4XGHUbFWHRjmBU0FVJJU7nhdAWDC/EcWNrtlhqs0oBlpaaYIbOp38LZWnoLCPW5MtUTS9T3pIn/MnA6HNcPWAoa6zTZs9Ez1LuD7V4piqxIxLDjRjWpPoGTNiTm0ZH4uj8eXrlJPGmPmXn/TUlGyKbdMYc8nCy47JxI134CrFtJRnl8DTaZpTrW6jTWXrLd2MYmVu95eZk6pXPLHahyBNev0o0b4pGt3W7o3NHwe+WkDf40omu1dCzuZKTWGQaDoVKMZqpFrLW/vNylmwyMdswva7ks4H7F0WCuacabGauk6AwsZWOMUrGhpeWuLJANQdcXseEFLWai2mY6ctqlaMJ01nGc468E1nbmTHlAxudI+F8dwHMwnE11iWkOHCNR5Vt5CyHT5PY2KHsXSOPZOIMkzw0uJJ37NaTYWA4AoXK2lSkiadwLqh+8GhzW9LnDZyXVHybnu5+UY6qsccDBIA1guGB0bmgNbfhcLnap5VacZZW81VGxvK1FxnlQSbSfS+CXb/AAOtI/P13xjP4zeo1X332KL/AFvq/wDlLLOvKrKisllivgeQRcWOpoGscoWFzOMo4T6S5oW1rUa8pVItLV6e1Fz0Pn4So8SP1vTNSX0e51Q0TpjUY+zawNwtxdqXXvr1bQrr77FF/rfV/wDKyoVIxgk2V9K2derdSnCDa2bcdSMOUtFNLM/dIJJKdruyLYyx0ZvruwOBw34tXAFbMj5JjpYWQwghjBqubkkm5c475JJJ5UqMzdIz6RoinBlgFg0jt4+Jt9Tm8W96Ffm6SKAtxbvb90slxebCsqc6W9bGRXtrexxTlmcVuxt/zvNjPuqEeT5yd+PAOMvIbb0pG4laM+8+vdpbHCCyBjsXZanSOtYOI3gATYcfmqONVLianLYdDoi1lbUMT2NvOB06NctCajbHf4SDsCN/D8h3JbVytKnst5Eiq4XQzgljrG4NnNcNYc07xCQuR8ty0solgdhcOlrhvtcN8FNDJGlmmkaBUh1O/f1F7DyFusdI6VYpVouOrI0ukNGVqdZ1qCym87N6Z7yJosgp52yvllnLHBzGvwBocNYc7COyIOsb1wrsq1JpGoAL7uDxBkpPmwqo5z6VjI0x0TXRgixldYPt+40drynXxBSe0p01s+hT/CXt5Ne0T7ZbMf51EfpKy22eswMN2wtwX3i8m7/NqHQVUsSw40Y1rZy1pNs7a3pRoUo047khraIYvgZ38MrW/Rbf76YCp+iunw5PDvnyyO6AQz7hVwW1orFNHB6Tnr3dR9ePDYCEIUprwQhCAEIQgBCEIAQhCAEIQgBCEIAQhCAEIQgBCEIAUFnvkg1NDNGwXeG42Dhcw4gBxkAjpU6heSWVhklKo6c1OO9PJzHiRiV+0kZguie6qpW4onEukY0a4nHWXgD5B28XJsXeNaicHB4Z9DtrqFxTU4P+OozYkYlhxoxrAsZM2JGJYcaMaDJmxIxLDjRjQZM2NGJYcaMaDJmxIxLDjRjQZM2JGJYcaMaDJmxIxrDjRjQZM2JGJYcaMaDJmxIxLDjRjQZM2NGJYcaMaDJmxL6wFxAaMRJAAG0k6gAsGNNLRpmC5rm1dW0tI1wxEa770jxvcQ6eBSQpubwirdXcLam5y7lxZfs28l+5qSGHfZGA7xz2Tj9IlSSELbJYWD55ObnJye97QQhC9MQQhCAEIQgBCEIAQhCAEIQgBCEIAQhCAEIQgBCEIAQhCAFUMv6L6SqJc1pp5DrLorAE8JYex81l9QsZRUtjJaVapRetTeGVSo0Ivv8AB1TSP3onA+cPK05NC1V8meA8u6j7pQhRO3hwNjHS90v7s9yMEmhytGx0DtW8946NbFrv0SZQGxkR/mj7QviFj+GgZrTVyuHh/JifosygP0LTySxf5Wu/RxXg23AfWwfjQheO2h1k0NNXD3qPg/uYnZhVwPcD9ZT/AI1hlzOrGmzoSDzkH40IUboRRahpWtJ7Uvr9zx+SdX+pP04fxo/JOr/Un6cP40IWPsYk/wCY1eC+v3D8k6v9Sfpw/jR+SdX+pP04fxoQnsYj8xq8F9fuZIsy6x3awE2/1IPtesrMwa47IP8Adp/xr6hZKhFleela0W8JfX7mWPRtlA7IB0ywfiWwzRVlE/omDllj+woQpFbQ6yrPTVwtyj4P7mZmiOvO1sTeWUfYFss0NVh2vp28r5D6mIQsvw0CJ6auXw8DPFoVqT208A5BK71gLdp9CDr/AAlULcDYTfzl/wBiEL1W9PgRy0vdP+7Hci3ZvaOaSjIe1hmlGySWzi08LW2wtPHa/GrQhCljFR2I19WrOrLWm8vrBCELIiBCEIAQhC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36" name="Picture 12" descr="http://www.build-africa.org/data/images/youtube_logo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9" t="19403" r="8867" b="34278"/>
          <a:stretch/>
        </p:blipFill>
        <p:spPr bwMode="auto">
          <a:xfrm>
            <a:off x="2797791" y="5105400"/>
            <a:ext cx="1050877" cy="450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AutoShape 14" descr="data:image/jpeg;base64,/9j/4AAQSkZJRgABAQAAAQABAAD/2wBDAAkGBwgHBgkIBwgKCgkLDRYPDQwMDRsUFRAWIB0iIiAdHx8kKDQsJCYxJx8fLT0tMTU3Ojo6Iys/RD84QzQ5Ojf/2wBDAQoKCg0MDRoPDxo3JR8lNzc3Nzc3Nzc3Nzc3Nzc3Nzc3Nzc3Nzc3Nzc3Nzc3Nzc3Nzc3Nzc3Nzc3Nzc3Nzc3Nzf/wAARCADCAQMDASIAAhEBAxEB/8QAGwABAAIDAQEAAAAAAAAAAAAAAAYHAQIDBQT/xAA6EAACAgEDAwICCAQDCQAAAAAAAQIDBAUGERIhMUFRE4EHFCIyYXGRoRVCYrEWJjM2UmRysrPB0eH/xAAYAQEBAQEBAAAAAAAAAAAAAAAAAQIDBP/EAB8RAQEBAQEAAgMBAQAAAAAAAAABAhEDEjETIVEiI//aAAwDAQACEQMRAD8AvEAAAAAAAAAAAAAAAAAAAAAAAAAAAAAAAAAAAAAAAAAAAAAAAAAAAAAAAAAAAAAAAAAAAAAAAAAAAAAAAAAAAAAAAAAAAAAAAAAAAAAAAAAAAAAAAAAAAAAAAAAAAAAAAAAAAAAAAAAAAAAAAAAAAAAAAAAAAAAAAAAAAAAAAAAAAAAAAAAAAAAAAAAAAByABpG2EnxGcW/ZPk3AA1lOMFzOSivdvgRlGS5i017pgbAAAAAABgDIMGQAAAAAAAAAMGQAAAAAAAAAAAAAAAAOWXkVYmNbkXy6aqoOc5eyS5Ka1/cupa/mOEZ2wx5S6asatvv7cpfeZZe+1N7T1Ho556I88e3Uuf25K/8Ao3sxq9zQ+suKnKqUaXL/AH+378cnfykmbp5/W26mXTQNr6nTkQuycO6jlriTXDX6eCX7u3FLbum041E/iZ90fsyn36F6yfv7IlF1tdFM7bpxhXBdUpSfCivdlJ69n3bi3BZbTGUnbYqsev8Ap54ivn5+Zc/9Ndv1Df8Azzyfdca8fWNw5E5wryc6xfek+ZKPzfZfkbVXaxtvNSTyMK5d+iXKUl+K8NFtbSx8HE0WrH0+6u5Vtxush/NYvvc/P9uCPfStPFWm4lcul5XxuqC9VDh9Xy54NT17r48/TN8+Z+Xf24a5uW3U9kQzsW2eNlRyYV3Kqbi0+H4a78Psz5fo11HOy9duryszIugsaTUbbZSSfVHvw2RrDVn+GNTff4f1nH/X7f8A8PZ+i6cY7jsjJpOeNJRXu+Yv/wAC5kxriTVu81JvpNy8nD0vEniZFtEpZHDdU3FtdL7diH6Xq2pT0PW7J6hlynXChwk7pNx5s4fD57Eo+licVpmDBtdbyHJL8FF8/wB0QvSP9n9efp0Y/wD3B5yfBfS35mm7o1XBvld9dyLpfDlGMbrZSim/5uG+/B6ekZ+sY8srW9RuzZxxquqqF0pqFtk30xXHjhct9vZHx7BxasvdGLG+CnCClZ0tdm0u379/kWruLTatW0fIwrrVUppNWP8Alknyn+o9NZzrnE8861nvVSY9uubn1L4MMu26+ScuJXdEYpeeF4XyRMNl7f13T9XnPU77q8aqHKgr+qFsn28c+nn9CL6js/XdJU8hUqyurmXxsezlpL147NfofZszdOpU6tjYWTk2ZGNkTVXTbLqcG+yab7+eOxd/vP8An6TH+df6+30b03jl2512Bpd8qMemThOyt8SskvPf0Xp2Pkr2luezEWcpWKbj1qt5DVr+Xv8AhzyRexS+sSjY+mXW1Jy9Hz35JutkbjaTWrVtej+s2f8AotkxJIkt3bb+2Nk7uzIahVpuq3Tupul0Qss7zrn6Jv1Tfbv4PD1/WNUq1zUa6tRzIQjk2RjGN8kkup8JLk9WrYWqQvhas/Ac4zUufiy55559iO7kf+YNTf8Axdv/AFMZmbrsNXczyvWWra/uPMoxsfIyaqV0181ykowSXeU5Ly/LfJx1zdGZkqOFg5d8MCiKrrfW1O5Lt1Tl5fPngsbGw44ux3Rhx4k9Pk10+ZTcOW/zbZUOmSx46jiSy0njK6Dt58dHK5/YmLNdvPpdy55O/b7sOev6fXHUMZZ9dS+18Xibg1+PPZr8zjbr2rzlZP8AiWZFyblxG+SS59lyXjK2hYrtnOv6v0cuba6enjzz444KCzXVLKyHjLih2Tda/p5fH7cDz1N97D0zcc5V/wBDbprb7vpX9joc6P8AQr/5V/Y6HkewAAAAAAAAAAAAAc8mivJosouip12RcZxfqn2ZUO4dnalpOROeLTZk4nPMLKl1Siv6ku6f4+C4gbxu4v6Y35zf2omd2t58I4s56hkR9Kn1yX6Es25svUqMTIzreijPdUo4tc39xtcOUuPD4b49n3LJ4Mm9e1s5IxnxkvbVGzxdd0G+cFDNxJvs3U5KMvmuzNsLRtb17K6o0ZNspfevv5UV+cmXgC/nv8T8E/qM07QxqtrWaN8T7dv2538ebOzT49lwlx7Fd5W2NwaVkqUMPIcoPmF2LzL5px7r9i6gYz66y1ryzpSUtH3Hqt8Xdh599nhTvUlwvzl4JYto5en7MzcauHx9Ryp1ynCt9koyXEU3547ssEFvtak8ZFZbF2/q2n7iqyM3BtppVc05ya45a7eGSjfeDqmpaOsXSq4zUp83R6+mUorukue3n8fQkoM30t18mp5yZ+KmXXu2vHlguvVfgyXS6+ibTXtz7fM9zZWzc6vUqdR1Sr4FdD666pNdUpenK9EvPuWUDV9rZyRmeMl7arreOyMm/Nt1DR4RsVrcraOUmperjz2fPseFGe8asX+Hxr1SNPHQoKqXZeylxzx8y4gJ62TlnVvjLey8VntDZGWs6nO1epU1UyU4UvhynJeOfZL9Ty9d2vrmRrOoXU6bdOuzIslCSce6cm0/JcAE9td6n4c84+XTK51aZiVWx6ZwohGUX6NRXKK13TsfNxcuzI0ih5GJNuSrh9+vn049V7cFqAzndzexveJqcqk8Hb2v50o4kMTLhU33+MpQrj+L57Gbtn69GdkI6bdOKbSknHiX4+S6wdPz6/jn+DP9aUpqqCa4aikzcA4O4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/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AutoShape 16" descr="data:image/jpeg;base64,/9j/4AAQSkZJRgABAQAAAQABAAD/2wBDAAkGBwgHBgkIBwgKCgkLDRYPDQwMDRsUFRAWIB0iIiAdHx8kKDQsJCYxJx8fLT0tMTU3Ojo6Iys/RD84QzQ5Ojf/2wBDAQoKCg0MDRoPDxo3JR8lNzc3Nzc3Nzc3Nzc3Nzc3Nzc3Nzc3Nzc3Nzc3Nzc3Nzc3Nzc3Nzc3Nzc3Nzc3Nzc3Nzf/wAARCADCAQMDASIAAhEBAxEB/8QAGwABAAIDAQEAAAAAAAAAAAAAAAYHAQIDBQT/xAA6EAACAgEDAwICCAQDCQAAAAAAAQIDBAUGERIhMUFRE4EHFCIyYXGRoRVCYrEWJjM2UmRysrPB0eH/xAAYAQEBAQEBAAAAAAAAAAAAAAAAAQIDBP/EAB8RAQEBAQEAAgMBAQAAAAAAAAABAhEDEjETIVEiI//aAAwDAQACEQMRAD8AvEAAAAAAAAAAAAAAAAAAAAAAAAAAAAAAAAAAAAAAAAAAAAAAAAAAAAAAAAAAAAAAAAAAAAAAAAAAAAAAAAAAAAAAAAAAAAAAAAAAAAAAAAAAAAAAAAAAAAAAAAAAAAAAAAAAAAAAAAAAAAAAAAAAAAAAAAAAAAAAAAAAAAAAAAAAAAAAAAAAAAAAAAAAAByABpG2EnxGcW/ZPk3AA1lOMFzOSivdvgRlGS5i017pgbAAAAAABgDIMGQAAAAAAAAAMGQAAAAAAAAAAAAAAAAOWXkVYmNbkXy6aqoOc5eyS5Ka1/cupa/mOEZ2wx5S6asatvv7cpfeZZe+1N7T1Ho556I88e3Uuf25K/8Ao3sxq9zQ+suKnKqUaXL/AH+378cnfykmbp5/W26mXTQNr6nTkQuycO6jlriTXDX6eCX7u3FLbum041E/iZ90fsyn36F6yfv7IlF1tdFM7bpxhXBdUpSfCivdlJ69n3bi3BZbTGUnbYqsev8Ap54ivn5+Zc/9Ndv1Df8Azzyfdca8fWNw5E5wryc6xfek+ZKPzfZfkbVXaxtvNSTyMK5d+iXKUl+K8NFtbSx8HE0WrH0+6u5Vtxush/NYvvc/P9uCPfStPFWm4lcul5XxuqC9VDh9Xy54NT17r48/TN8+Z+Xf24a5uW3U9kQzsW2eNlRyYV3Kqbi0+H4a78Psz5fo11HOy9duryszIugsaTUbbZSSfVHvw2RrDVn+GNTff4f1nH/X7f8A8PZ+i6cY7jsjJpOeNJRXu+Yv/wAC5kxriTVu81JvpNy8nD0vEniZFtEpZHDdU3FtdL7diH6Xq2pT0PW7J6hlynXChwk7pNx5s4fD57Eo+licVpmDBtdbyHJL8FF8/wB0QvSP9n9efp0Y/wD3B5yfBfS35mm7o1XBvld9dyLpfDlGMbrZSim/5uG+/B6ekZ+sY8srW9RuzZxxquqqF0pqFtk30xXHjhct9vZHx7BxasvdGLG+CnCClZ0tdm0u379/kWruLTatW0fIwrrVUppNWP8Alknyn+o9NZzrnE8861nvVSY9uubn1L4MMu26+ScuJXdEYpeeF4XyRMNl7f13T9XnPU77q8aqHKgr+qFsn28c+nn9CL6js/XdJU8hUqyurmXxsezlpL147NfofZszdOpU6tjYWTk2ZGNkTVXTbLqcG+yab7+eOxd/vP8An6TH+df6+30b03jl2512Bpd8qMemThOyt8SskvPf0Xp2Pkr2luezEWcpWKbj1qt5DVr+Xv8AhzyRexS+sSjY+mXW1Jy9Hz35JutkbjaTWrVtej+s2f8AotkxJIkt3bb+2Nk7uzIahVpuq3Tupul0Qss7zrn6Jv1Tfbv4PD1/WNUq1zUa6tRzIQjk2RjGN8kkup8JLk9WrYWqQvhas/Ac4zUufiy55559iO7kf+YNTf8Axdv/AFMZmbrsNXczyvWWra/uPMoxsfIyaqV0181ykowSXeU5Ly/LfJx1zdGZkqOFg5d8MCiKrrfW1O5Lt1Tl5fPngsbGw44ux3Rhx4k9Pk10+ZTcOW/zbZUOmSx46jiSy0njK6Dt58dHK5/YmLNdvPpdy55O/b7sOev6fXHUMZZ9dS+18Xibg1+PPZr8zjbr2rzlZP8AiWZFyblxG+SS59lyXjK2hYrtnOv6v0cuba6enjzz444KCzXVLKyHjLih2Tda/p5fH7cDz1N97D0zcc5V/wBDbprb7vpX9joc6P8AQr/5V/Y6HkewAAAAAAAAAAAAAc8mivJosouip12RcZxfqn2ZUO4dnalpOROeLTZk4nPMLKl1Siv6ku6f4+C4gbxu4v6Y35zf2omd2t58I4s56hkR9Kn1yX6Es25svUqMTIzreijPdUo4tc39xtcOUuPD4b49n3LJ4Mm9e1s5IxnxkvbVGzxdd0G+cFDNxJvs3U5KMvmuzNsLRtb17K6o0ZNspfevv5UV+cmXgC/nv8T8E/qM07QxqtrWaN8T7dv2538ebOzT49lwlx7Fd5W2NwaVkqUMPIcoPmF2LzL5px7r9i6gYz66y1ryzpSUtH3Hqt8Xdh599nhTvUlwvzl4JYto5en7MzcauHx9Ryp1ynCt9koyXEU3547ssEFvtak8ZFZbF2/q2n7iqyM3BtppVc05ya45a7eGSjfeDqmpaOsXSq4zUp83R6+mUorukue3n8fQkoM30t18mp5yZ+KmXXu2vHlguvVfgyXS6+ibTXtz7fM9zZWzc6vUqdR1Sr4FdD666pNdUpenK9EvPuWUDV9rZyRmeMl7arreOyMm/Nt1DR4RsVrcraOUmperjz2fPseFGe8asX+Hxr1SNPHQoKqXZeylxzx8y4gJ62TlnVvjLey8VntDZGWs6nO1epU1UyU4UvhynJeOfZL9Ty9d2vrmRrOoXU6bdOuzIslCSce6cm0/JcAE9td6n4c84+XTK51aZiVWx6ZwohGUX6NRXKK13TsfNxcuzI0ih5GJNuSrh9+vn049V7cFqAzndzexveJqcqk8Hb2v50o4kMTLhU33+MpQrj+L57Gbtn69GdkI6bdOKbSknHiX4+S6wdPz6/jn+DP9aUpqqCa4aikzcA4O4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//Z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AutoShape 18" descr="data:image/jpeg;base64,/9j/4AAQSkZJRgABAQAAAQABAAD/2wBDAAkGBwgHBgkIBwgKCgkLDRYPDQwMDRsUFRAWIB0iIiAdHx8kKDQsJCYxJx8fLT0tMTU3Ojo6Iys/RD84QzQ5Ojf/2wBDAQoKCg0MDRoPDxo3JR8lNzc3Nzc3Nzc3Nzc3Nzc3Nzc3Nzc3Nzc3Nzc3Nzc3Nzc3Nzc3Nzc3Nzc3Nzc3Nzc3Nzf/wAARCADCAQMDASIAAhEBAxEB/8QAGwABAAIDAQEAAAAAAAAAAAAAAAYHAQIDBQT/xAA6EAACAgEDAwICCAQDCQAAAAAAAQIDBAUGERIhMUFRE4EHFCIyYXGRoRVCYrEWJjM2UmRysrPB0eH/xAAYAQEBAQEBAAAAAAAAAAAAAAAAAQIDBP/EAB8RAQEBAQEAAgMBAQAAAAAAAAABAhEDEjETIVEiI//aAAwDAQACEQMRAD8AvEAAAAAAAAAAAAAAAAAAAAAAAAAAAAAAAAAAAAAAAAAAAAAAAAAAAAAAAAAAAAAAAAAAAAAAAAAAAAAAAAAAAAAAAAAAAAAAAAAAAAAAAAAAAAAAAAAAAAAAAAAAAAAAAAAAAAAAAAAAAAAAAAAAAAAAAAAAAAAAAAAAAAAAAAAAAAAAAAAAAAAAAAAAAByABpG2EnxGcW/ZPk3AA1lOMFzOSivdvgRlGS5i017pgbAAAAAABgDIMGQAAAAAAAAAMGQAAAAAAAAAAAAAAAAOWXkVYmNbkXy6aqoOc5eyS5Ka1/cupa/mOEZ2wx5S6asatvv7cpfeZZe+1N7T1Ho556I88e3Uuf25K/8Ao3sxq9zQ+suKnKqUaXL/AH+378cnfykmbp5/W26mXTQNr6nTkQuycO6jlriTXDX6eCX7u3FLbum041E/iZ90fsyn36F6yfv7IlF1tdFM7bpxhXBdUpSfCivdlJ69n3bi3BZbTGUnbYqsev8Ap54ivn5+Zc/9Ndv1Df8Azzyfdca8fWNw5E5wryc6xfek+ZKPzfZfkbVXaxtvNSTyMK5d+iXKUl+K8NFtbSx8HE0WrH0+6u5Vtxush/NYvvc/P9uCPfStPFWm4lcul5XxuqC9VDh9Xy54NT17r48/TN8+Z+Xf24a5uW3U9kQzsW2eNlRyYV3Kqbi0+H4a78Psz5fo11HOy9duryszIugsaTUbbZSSfVHvw2RrDVn+GNTff4f1nH/X7f8A8PZ+i6cY7jsjJpOeNJRXu+Yv/wAC5kxriTVu81JvpNy8nD0vEniZFtEpZHDdU3FtdL7diH6Xq2pT0PW7J6hlynXChwk7pNx5s4fD57Eo+licVpmDBtdbyHJL8FF8/wB0QvSP9n9efp0Y/wD3B5yfBfS35mm7o1XBvld9dyLpfDlGMbrZSim/5uG+/B6ekZ+sY8srW9RuzZxxquqqF0pqFtk30xXHjhct9vZHx7BxasvdGLG+CnCClZ0tdm0u379/kWruLTatW0fIwrrVUppNWP8Alknyn+o9NZzrnE8861nvVSY9uubn1L4MMu26+ScuJXdEYpeeF4XyRMNl7f13T9XnPU77q8aqHKgr+qFsn28c+nn9CL6js/XdJU8hUqyurmXxsezlpL147NfofZszdOpU6tjYWTk2ZGNkTVXTbLqcG+yab7+eOxd/vP8An6TH+df6+30b03jl2512Bpd8qMemThOyt8SskvPf0Xp2Pkr2luezEWcpWKbj1qt5DVr+Xv8AhzyRexS+sSjY+mXW1Jy9Hz35JutkbjaTWrVtej+s2f8AotkxJIkt3bb+2Nk7uzIahVpuq3Tupul0Qss7zrn6Jv1Tfbv4PD1/WNUq1zUa6tRzIQjk2RjGN8kkup8JLk9WrYWqQvhas/Ac4zUufiy55559iO7kf+YNTf8Axdv/AFMZmbrsNXczyvWWra/uPMoxsfIyaqV0181ykowSXeU5Ly/LfJx1zdGZkqOFg5d8MCiKrrfW1O5Lt1Tl5fPngsbGw44ux3Rhx4k9Pk10+ZTcOW/zbZUOmSx46jiSy0njK6Dt58dHK5/YmLNdvPpdy55O/b7sOev6fXHUMZZ9dS+18Xibg1+PPZr8zjbr2rzlZP8AiWZFyblxG+SS59lyXjK2hYrtnOv6v0cuba6enjzz444KCzXVLKyHjLih2Tda/p5fH7cDz1N97D0zcc5V/wBDbprb7vpX9joc6P8AQr/5V/Y6HkewAAAAAAAAAAAAAc8mivJosouip12RcZxfqn2ZUO4dnalpOROeLTZk4nPMLKl1Siv6ku6f4+C4gbxu4v6Y35zf2omd2t58I4s56hkR9Kn1yX6Es25svUqMTIzreijPdUo4tc39xtcOUuPD4b49n3LJ4Mm9e1s5IxnxkvbVGzxdd0G+cFDNxJvs3U5KMvmuzNsLRtb17K6o0ZNspfevv5UV+cmXgC/nv8T8E/qM07QxqtrWaN8T7dv2538ebOzT49lwlx7Fd5W2NwaVkqUMPIcoPmF2LzL5px7r9i6gYz66y1ryzpSUtH3Hqt8Xdh599nhTvUlwvzl4JYto5en7MzcauHx9Ryp1ynCt9koyXEU3547ssEFvtak8ZFZbF2/q2n7iqyM3BtppVc05ya45a7eGSjfeDqmpaOsXSq4zUp83R6+mUorukue3n8fQkoM30t18mp5yZ+KmXXu2vHlguvVfgyXS6+ibTXtz7fM9zZWzc6vUqdR1Sr4FdD666pNdUpenK9EvPuWUDV9rZyRmeMl7arreOyMm/Nt1DR4RsVrcraOUmperjz2fPseFGe8asX+Hxr1SNPHQoKqXZeylxzx8y4gJ62TlnVvjLey8VntDZGWs6nO1epU1UyU4UvhynJeOfZL9Ty9d2vrmRrOoXU6bdOuzIslCSce6cm0/JcAE9td6n4c84+XTK51aZiVWx6ZwohGUX6NRXKK13TsfNxcuzI0ih5GJNuSrh9+vn049V7cFqAzndzexveJqcqk8Hb2v50o4kMTLhU33+MpQrj+L57Gbtn69GdkI6bdOKbSknHiX4+S6wdPz6/jn+DP9aUpqqCa4aikzcA4O4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//Z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44" name="Picture 20" descr="http://collegeof2020.com/wp-content/uploads/2012/07/coursera-500x300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48" t="36542" r="17261" b="43398"/>
          <a:stretch/>
        </p:blipFill>
        <p:spPr bwMode="auto">
          <a:xfrm>
            <a:off x="94386" y="1341246"/>
            <a:ext cx="1671403" cy="286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AutoShape 26" descr="data:image/jpeg;base64,/9j/4AAQSkZJRgABAQAAAQABAAD/2wCEAAkGBhQSERUUExQWFRUWGRwXGRgYGB4eHBscHRgXGBobGhwdHCYeHRkjIBwgHy8iIycqLCwsHR4xNTAqNSYrLCkBCQoKBQUFDQUFDSkYEhgpKSkpKSkpKSkpKSkpKSkpKSkpKSkpKSkpKSkpKSkpKSkpKSkpKSkpKSkpKSkpKSkpKf/AABEIALEBHQMBIgACEQEDEQH/xAAcAAABBQEBAQAAAAAAAAAAAAAAAwQFBgcCAQj/xABLEAACAgAEAwUEBgYGCQIHAAABAgMRAAQSIQUxQQYTIlFhBzJxgRQjQpGhslJyc7HB8CQzNGKC0RUXQ1ODksLh8VTSFjU2VZOz4v/EABQBAQAAAAAAAAAAAAAAAAAAAAD/xAAUEQEAAAAAAAAAAAAAAAAAAAAA/9oADAMBAAIRAxEAPwDccGDBgDBgwYAwYMGAMGPC45XhknGoT/tFG5G5ANgkVRPOxgH2GicUjMzQavrFVXK/3WLAEefum65beeOl4lETpEiE+QYXzrlfntiu8c4FkJcxLLmmTWkcQJZ9BiFylWVwQQWN9fs4C14MZlw3tRmO/CcO77iGXBpzOAFX0TMGieuzhvS8XThPamOaQwsGhzCi2hkoNX6SkEq6f3lJ9awEzgw1PEFBYNtpPkTY0q3QevL0vA3EUB57bg8+YKiuW/MYB1gw1nz4VtOmQ7c1QkfCxjyDiIYgBJBf6SEAbXuTt6YB3gwYMAYMGDAGDBgwBgwYMAYMGDAGDDDOcbiiYq7UQLOxP7sIf/FEH6R/5Tt5dOu334CWwYaZHiiTXoJOnnsR1YdfVSPlh3gDBgwYAwYMGAMGDBgDDYT0z6jQGnnyF3hzhsz0x8LG66bbeWA7TOITQZST64Wwg2ZAUsQQB5jc/DfCkMmpQw6i8B5NmFQWzBRdWSBv5b44lzJVlFDf136XtXr54jO1N93HV33g5eWh76jp1uhzNgEF3O2p4jVfao1Y5bc6vfpf44BqYw2d3G6pY36g7GuZ5/Dfzx2/CYyxJgJN2Dq6+Y8Wx/7Y9EX9Muj/AFfOj+ketVQ+N7jC+VnPeuhYnTXOuteQHqOvy2sOctwmMEMI9BU2BfUKUB68lJA9K8hiucQ7L5TOcUdp7keKGIiIghAC0tMxvxk/o8h1u9rjItggEixVirHqLBF/EYz2PstxVM7PImbjpkRRLJEpLKpekKqAFZbNkCjqHwAXDiXFIsmkZZNMOoRllACRXspYfZS6WwNiRdDfBxTs3DmJYJpFPeQPrRlNH4Gua3Rr/M3VeJdluI5iJos1n4Rl2H1miEA6QbO5oDlzxbuIyGGEd2QK0qLF7e753f34Bjns2xaQJlmkCGmYyBRelSSATdAULoXvzGHWZyfipVWiK8RazzsDxb7Afjz5Yq/aCG5ZXGXiNsq6ykryM2iMqVCjSNQ2XerXcgnawZx/6bD4TyK2QP0Wbwki/jpPx9QkcqZbGsLVdOh2rrv1/DDvHLuALJAHmcIZ3MlU1KAxsUL52wG3rvt5msBxnOJCNlBRiHIUMNNWTVbsGJ67A7Y54lmmQpp3s0R58qHp/PPYYjeKTiT6KxoXKK69aAsXuR0utjzrD3NZhGlVTKo0m69QRternuNq63vgHjQEm9bAeQ0/5YSzCShQI2Vjq3MnRaPLTVm6/HA2cjaqmUXQFMu5N18z/DCg2YAuSedGt+fp8fuwETHxl+9WMzZdiX0lUDFutj3iARRu/I494lkpWkcxg2VIDEjYaK8LA6ls7UQR9oVhKCEsyEAKgkIozeIgOxAKBK8Juhqsdb5YecW7RZeIOjZmCOUKaDyopBItSQzD474BB8sysJFjKIrKdFqDykV2A1aRsy9d9J9L8y3DCXXvIjoBm2OkgapVePYN0APwxFtxFpER3nh7piNDmWIozKj9eRFlSVFkaTROxxPcPzRbLB+9Vti2slStWb3Tw0PO+m554Bl9BfQLibWCO9Nqe9AuyLajudVMBsK9MKw5F1kjKo+laHjINDxA+INanf3dwfDyrZzDmGmXVFLG63zRrFgg1YB6fzRrHfEOItFbFRoA98yKos0N9VAc8A+KDqBhGaSNPe0jYty6LWo/AWPvw1bPl4GcCgUJVg6kHbbSVO/ocMe0ybJZNNfSxdKAKETnfc1tdHngJyNlsgDcVe3ndYUw2hH1r/Bf44c4AwYMGAMGDBgDBgwYAwxdz34FmtO43r7Vel7efy8n2Gf0RjKHJFAED53z/DAc52TVCTuOfLfle3LDN87MiRFIy40tYHpp0b1zq/8AtyxKZmIshUbWKxwY2EYC8xQ28rF1fWrq8BFcWjlnhjXuiGJ1NutLWoV4iCefTar3PIyGZipowuwFgUOQ8Ow2obfheEfo812d2G43X9ACuXInn+GO+7m/SPX9Gr2qutczuRgHOYzJVlAF6j924Hl64a5FankF3sOdX06ADHU8TFor06hubP6pNbb8v5uwZX+vl38ttvIb8769R8OtgjLwANnVzfeyArGY+7DfVmyTZXz3/AeWIPjfZ3PTZ4mLOywZdo78Ok6ZAQukKehHivzB88N832Mzsucnb6fmIsuaaMI5Jtr1LV7KpG3oR5HHf+r7M/8A3bOf83/fAMu0PYvOfRZr4nLIAjEo6oiuALKs1gKCNrJrzxbO0U9Rha948yQBsQaN7bi/Ply6im9o+w8yZaQvxTMOCKCStUbEmgrm6AY7Wdtxi/cQ4f3q1ZH3105gEXy88BU+M5gxzzASqe9CB2+tZoqCaNKqjIGXxOtuu8gJ5WbBmwPpkXu3pbyvkRe/wrajy3oEYi89lJ+8n0rmtJYaTE0CofqowSQzd4TYINDpsMTGdSIyK7S6Gj22Zep5HUCRdVsRfy2DzjGpon3oBqoC9Qrkd9hZ/Dkbwi+VBysZIo6F28VeLTdohGo78vPCubzAfKyOhI1WQTsQQavn0q+Y+I5jxdLZRNSsFpdqW9iCDRtaNcue/ngI+WB6y3v7MoZQDpA1nnYDD1s9BYNA4Vzgy2p9UJYsTqPqCATWr4ch5eYuYiKRIouh02+fJRQ+7HJz8er1oeKuhPLl8PvGAiA2WDE9016ga252rX73mo60NI5WLk5Dc6HetPl5hv5+Q9MOIM6rkgXY9D6fd5b+Rxxl5G7xlJJA9B6HoPX/AMbWEFloEE4IC993hLRiFRpBJttejVy31FiGuq3FM+OziPjOUbQz/wBGzGyLbe/B+H+eHmR7p5FYzLr1kBCwMi07kqKc7sT4jVaQBQq8KcS7O5h86majniTu42iVGgZtnMZYswnWzabUBQO988BR+23A2XI8UzDQiCOdsqUhOknUkyB5WCEorvqAoEmlF7mhrCRALQAA8gNvuxCdt+z5zuUbLiZYQ5UszJqNK6uAo1qAbUbm9r264ZvwvOSSRmTPQlYm7zRHl2TUdLogdvpLWgY2VFXpqxgKvwHNf6Pz8smy5LOZuWAgABYcwjaUbbYLJRU+oF7VhX2nTtmWCKfqMpmMt3oqxJNJNGBGb2KpG2ph5yJ5HE0nYvvMpmspmJ45VzTySApEVKSSM0xIuV7CtRUbctybx5mewrPko8nFmVHdusk0jxmR5Jg6zFye9Wizbm9RogAisBZ+ISFFAWgOVADlRoAcqxGdpMwoMeqhaPYLKrEfV2BqB2PI0NXKiN7Vh4vBK0cRzEbysuqo60v724BLfouQNRPhY76SQl2l4gFICuA1MrU4DDUoIGk8idqc7LueuAlpJT3yrexB28+fp0+PlhyHBsXy5/vw0k/r1/V/93r/AAwk3BAXLd4+5urFfdW/lv5DywEgrg8j6/5YRlP1ifBv4YZLwED/AGsh+LDzvy68j6WMSEMYAAu9IAs8+Vb+uAaf6X+v7kI18y3QDTdn57YW4dOWSybN1yry8v5+GIrJKwzcpO/hJ5af0NI942aHP4eoD6HMsq7QSeZ8SnoNhbX6dOWAeibxFa5AG/jf+WFMN12Os7agorqNzz+/DjAGGkeeuZo9NULu+fu9OfX4evMB3iDlB+kTV/u+g3vwVRG9fgPvwC/EeHRqryuxoW5sqBsL3JHL4mvkBUXm2y0ccjd6zmPUSmpSSw1WN180I8gVPkcT2e7to3jkYBWUhvFRogg78xte+IvN8Hy1MSzksGVtMjWVZnZxseRMhv8Aw+QoEQcsFf6yzek262SGehfLxaTsxrw0fd24RcszyIZCAoXxalpgbWx4ehbn5sDiTTgUDAkWdQZSQ53DOZD182NHoGYDYnEdmuGQLIqAE6qT+vIIXVp0BbvSDW3pz2GAcZJohOO6tvDI1grQKsgK1QI2kWt6rT6HC2Z4hHARI4mBkfQFWJpCxCkjaJGaqUnfYb46yfB4oXJjLa9LHxMxHi0Anfb/AGa+u19SS7yeb18mRhQNrfXl/wCMBH5btfBI0aqJ/rW0qzZeZEumO7uiqPdrnzrEJxPL5nO56eGPNvlYssse0QGt2kUvqJ6KOXxBwhwLiEUr5cPNNYkOjLhD3aSDvBXemJS6JR0gnnXvUMO+P8W4bls+k085izKR6aGumRroOFUhq3I+XkMBU+I8Albh880ufzEogeRZoGelYRSkFCeYZlAYXe7DbGmZviqpCGU7tGWQaWbYLYJVd9IsX8RvuMZx2i4pwOabvy7SOzprRC6o/iVS8gKgEKu53FgeuNKzvCll0kMyFQyhkr3WA1LRBXSaU8ugrAN8t2miKqGanKKxUKxsnQCF2OoguBQs74SXPZd5SSBqJQD6uQSWQrbgqCAAU36b3W+I+NMispyy5xVl1KREJY9YkXSQQK1F9rKmxufDRwcVbIoz9/nEVlZGcPJECG00t2tqxC2CKYUaIBOAf5bieXaIR3St+isgADOwQElfCxIqjVnlzFqrxOB4fDJSBUPjVrKsLQgOAW1AGquyD1GGcuRysMImfM6IToYu0iCNyG1xsWquZFaSA1KDeHHCuHZeSMPDIJkMSxI6sjAKgdQVYCtVOwJwC8XHIGAFk0DzjfekD0AV3bSQwUbkbi8ILxaNpQoAKOpqo216xIyMCALAFG9hVEk49PZuJgV7yTzNMoIJh7jotjwfjvjyLspGrIwkkDISVI0AjU5dgKT3SSbHKjXlQKZTjkO24BNAERuAA0jxx6iV8JJTTvW4+GFeGZ+KV3aNi3hVjaMNmFqQSACCBe2Eo+zSLdPJvoO5X7ErTL9n9Jj8tsMuyRVI9poXQkRqUdWuRbVgrKqggAUF3Io+WA8yeaJmMOxcSlybjpVtiVCg6jtRFiwWs8t7BLmkTZmA+PzP8D9xxDZjLPBEWeeCKON2k1NGaUF2NsxlAs6qJ62ed7yOXyepFLtqYrRZSQGBs8r5b/K8B5mpInrU9adz02Njc/4T8KOONMG2461bH1Jrf4/j5YZZ3iMMcpQgl+Y8YFtYNWWAU/W9fP1W+F4tCa8LANQU94u/1qLvT2CGkujuN/hgJAFFTvAvJq94/pFL/G/mcKZfUpmOknx2AK8XgTlZAvatyBfXriHbj0ZjVe7PjCSAF15NLF7xsgf1gavK/QmZ4ZxITKWVSBe11uPOgbHlRrkcBUOz2UIkyp+hzwm9chlddCsMuyKEHfM50DwKhFAMzGiLxa+K5DXpIfu9yDQJvUNO9EeIDkTYHkdsU7spll15ZxBkj9ZJGcxG7tKzrHKGJZoV1M1WSWIIJIsUReOITqiW7KgsbsaHO/3A4BKRPr1qgSLO3xvr5D5YHho7ykG7q/Ukcz5fu+N8DPxNIrCaPyA1CzuV238zXx2+DPj3EdE0SXEmsMdUikhirRjukplqRgzEbnlsp3oHmgUD33lzJ/i2OstEA4qTUeu+5oHnvv5/L1xVsv2jkfux/R17zQWJRqhZo5maJx3guRSijmp961WxhOLtZJoUgZdXIWT3WoB8pLNVd4DqDJoLXuGGwOAn4cyBnZRtqKChYtiERq53YF8hyPM8l9i4xO0qDuGVCdLWD1A8V6Qavbl06DlEL2ykFl+5AGoBqNajlop4gfHzJZ05+LRtR2wnP2wlMbtcNHUgXS139CGZBJ7zca7jIAHMbgjcLlmvd+a/mGFsUuPtDKiym43ihkjBjWNi6wtFGVZac6vEwO43AeroAW3JF+7TvdPeaRq08tVb1ZJq/XAL4icr/a5Ofu+W32B/P7yKqWxHxZIjMPIQKK6Qev2Of3HAKTQxM1sV1e572/6vP15eowgYsu24KMWBI8fPzrflhEdmYwxYMbJY3S34nWTc6bNFdr6ffjluzShCqsSSI1BNAqEcsCpVfeFnnz2vrYSEBZQAFWufvc73J5dbvDHiTfXRWasrS3sTq360CAeZHiuudYkGjjAXZa2QfuAGIzir6JUCmiQoUAgbh9vCXGob8q333GAepX0liCt92ARfi967ry3G+OeEOSCNRYLS79CLteQsjbfrhrkoGObdmUgaB08OrSgJBqrG69eu/Qd8JO4940ANm8I2NKRqPLoaHwGAr/CtXfxECXvDK6yZg5gNDLp7zUiIJTZtdk0Lo0tv4fFYpeHZYTvK+gyOqKQ5XYJrqgdxeo350PLFU4TmVaWAF3VFzLCHLao7A0ylZDpTWQtNcZPgIOosVGDtRBwc52Rs86GXQi6HDjSBqNgrz1Bh93xwDr2g53JxZKSu576gYAgXX3oIMZUDfZqv0sdaxbJO8aA6aWUpt5Byu3yBxQuGcQ7P5eQSRGBXXcNUjEHzGoGj6jE63tLyTNGkMyyySSRxhV1D33VS1laoA361XXAVNM/lTwH6ISv0zuzH3F/X/TLNNo9/X3vj1Vy8V1iY7N5qBeLcQ1yQ953GWDnUgJKLN3/XpS6vLw30xc81IqrI4VdaKdyK5LqAJq6xCR9qNClWAdlAYnWN7SWRq8AFjRQob6l354CgcIz6pBwx+/SPLRS52JpaDpC7St9HJs6UPd6lVmBADjamxoPYzKZNBN9Dk77XJrllB1K8jDcgoBFqrmIwK2vHk/HyzgAWASGjtSH0jMhq8N84gR5grsLxPZGXVGrBdIIsAeX2eg5ijXS8BC9mK7yYBQKrcX4vE5sA8gBSVz8NdMOcrGO+sq+rW4uhpA8ZG/PcG/iV6AYS7Oe/Ly3rz1HxPu9imfzYE9Pn3lyPpFAgDWx061vVpe2Khb6nm3KvIUCnFOJuJ4svFoDyJJKXcEhUjMSkBQVLMTKv2hQDHyBqvAcw6dwjJA4fiOcViVNq6/SpFeIG9PuEWSSA1C+eLPm+DQShVkf6yItIro5jkTUWDEMhBCm9J6GtxhPLdkMrGUKh7WVp1ueQ3I4Otjb+IkMwN2KZvM4CtcQ7TST5bPQyNDIPoEsweFXCWVlRlVnJEqihUi0DvsMPOI9qMxkVjEwhlWWMCIxq6lZNUSBZBqcuh13qUA+EjTbDElB2HyShlAcgRNlyDPKQImWu6ovQUA+EfZux54Q49kMrFlJ5in0oLDIumSZmtB4nRGYtpPgBOnxEotmwKCP4lxTPaYwyQxtJmoolkaI/WxkFzqiMjNHutUXJI6KeTtuNZlsw0cMEUncypHLcbLqZo4pJJFkZtKUJBSVIzVvQIOJVuymXZDExlchkfU08plUoSUKyF9a1ZqiOZ52bTm7O5RJA1OhKqrBJJFR1SlXvQraXqwtvZI2NjANez3HmnzEkUyRoQhKxmJ1fSshW1drjmiIKnVGaBbcbjE+rN4dCpRc67JWl8XiFKdTWF2NbEm9gDFcM4dlYZA8evVpKqGaVgiswLLGrEhAxUbCvdWtgMSWUlSVCvmPEtnbXZ57H+OAp3Z/h0iz5Z2TTCxJiT6UjqlQOqsirCpchAEGp3pTdbWLc+XEgnVmIUmiQRsNC3zFYovZueNczk0WFUU2YtedmmcL3M62sTDu0dSpRyCdGor9oHF/zfD9UcqBqMgIvysV92AiFyOWYyN3rUS2tfCLErXXuBmDcgQSa2BxLnisVA6xuxUDe9QFlaq9XpWGk6TMI2dUVo3DVrJDEhkIvTt7219fLHDZGTvBKQouVXI1cgIzGN63Y6r+QF4B83FYgmvX4d+hvb3rFWK62NsdtxGMB2LCk2Y77bA7+lG7xFzcMkJY6Ru7MpWQqw1KoBBAqvDupsbjnWOJ8jKEljtGaaMDUW00wjEbbVyNAivOtsBKycViVirOoIIBs8iRYBPIX645fiS6daspUHSbu72oVV3vyqzYwyzWSkPebJ4zGR4/0NJP2fTb+GE81knLu40jxrIB3lWFjMbAkC1NGwfhgFszxGFwhkZSAdahS5tk81A30k3pI2IBqwCJZHsAjkReIuPJP3kTLGiquuwG38QUWfDu21n95xLYAwyz2XZ2WrAprIPL3aNXudvXD3EZn8lK5IWUBW+yR000aI350cBz/AKJfY69wCOv9y+v2tO/x+8XIWSBIDpIsamNEd2wB8V3QJ3/Sv4+nK5jTJcgYlaQe6AfUgavmOV+l4ho+DZ0brIgY1qbWTqqJY7Pg97Y0d6u6JAoJuPhrgi3BA0+f2WU9Tz2I+f3ts4j98tjbUtUbsByf910ButQoHn1w+yOqOL65xsWJJbYLqJUFiBdLQs86688V/Pe0jLrKscQaYswUsuyizVgn3vkK9cBbcMsjA6li9b0Bv5Xt5evLr6YM/EoDSOzKqqWaugAJOwF8umOMtlVdFdXYqwDA8rB8Q2q+uAhOCcJzUToXiyxNlZJ9bNO6W2nUTEtn3b8XQ1hTI8Kgkz2cMsaPJcOnWoao+6AUrY2BcScuo9MPZ+LJl5BFUsrsVOmOMuURm0B5CNlS7/5WoEKa57QdmBmSskcsmXnQFVmj56SbKup2dL3o9cBB+0rJ5eDIM6xRLIHj7qkUEuJFYAbb7A2OovFgzfZeCRVHdJGyukgZEUMGR1cUdPWqPoTiF4f7PT9ISfO5qTOPGbjVlCop89AJF8j05C7oYtMuc0mtDn1C2OV/9sAkZwjSE+Yr46b5/LHo4mmOssdWsgMpNe8vLbp5jCc04WRI2kIeTVoGnnpALdKFA9TgPHz8TqVbcHYjpv0PphaLObyBqAQgWdtiARz+7Hc02gDws36ovyw2UByy6JVDmy1leQHIqbHLpgIfs9AGmY2Kj3UK6MBr1gg6UBU7b7myLJNDD+GSpwoYHxvaiXURs5soF8O/mdicK8MyJidgzk6gAoLO1hS1sS7EA+LkP4iuIFJmu2rUw3YV9uxWq+fpyVeVWQrR7IP3LFcuiyfS5JmA7rVLC80kgTUQVsalYK+2pBuNmCmS7MNHIAMohiKp3WqRWbLMkkj34r6sHHd3TDT7oU4nSx+ijcsQx5nnTN1sEbeRxNJywGc5rsbM+WWIZeMOmX7mQ6lrMP3kLByeZAKNJqkp9T7Ddjh7x7syxXMJFlY3XMZcxxD6te4kqQkEGgFLNr1JZ1A2NgcXJplctGGphRNcxyP3bj8fXCR4by8bbb8/iPxvAQfBODzR52SVkCo4k1ElG3aRXTu3CiTTWosslhTQTbErmQ7NvGp6C25jUD5+gPLqPLHOSEUwYxT6wp0EqwYBhpJF+fK/jjmR4w1FpbXb3WPle4HLb7zgFYcqSwuMBeXvG6G6n3ud8jzFeuF8uirIUVa8IN30sihjzhbAqSGLCzuQQdtvtfzzx1NOFf3WJoCwOlk+eAp/B0zMQjk+i5x5ST37PmI6ksNZEbT6V8WkqAq6V2G1g26AGaBDKpRmVWZeqsQCV+R2+WEVnUiwkldKPPa9qPr+/wAsO8owN0GG/wBr4dN+WAiWiX9En0MkfQ3/AD8x6YW4hJqyw2sWAKJY7EUbUHfbnhWKbKtK0K900qjUyAKSoJq2HT54T4iAYHUDSNWkBPiOQrY/DAO5coX00xVQOhI/RI5UKoEfPDb6AGZh3j6hV+nUf+fPVXpIhwqWTQAsk0KAHXoMMuHMkoaVGWSOTYMpsEDwnceoO94BVIEC6XYOLsayD913/Jx4crDY8CXyHhH8/PCeXjRnZdBUjc+Lff4HrhY8MSqr05nyrzwCWfhUKlADcAVXLyH/AG38t8SGGXEAAEHIahyNcgT1+GHgwHuG8n9Yvwb+GHGEnj8anyBH31/lgEIcyWLixsNtJv8AEiv4YTyN6H01rs1q5XW11zF9ef4YMo+p3PLp7wJ/BjWFOG+6fj/l/PX4nAZP2ug4gTqzYcoDtp3iHw07D/FviD4ULni/aJ+dcb3mUBRgRYKkEfLGDcEH9Ig/aR/nXAa92szUkeUzskL93JHA0itpBoojvyYUeVfPEJxfimZDcQZMyyDK5aKeNQkZBbu5mYPqQsVYxi6IO5ojbF0zORjkUrIiure8rKGBrlYIo4ZpwTKHUBBAdS6WAjTdRVK226ihsdhQwFN4lxGaDMcRzSSMTHlsswRlUoNX0ii1Lr0R2X2YE+Kz5K9qeL5nKLMkeaaQ/RWzAdkiLRsksSclQKY5A7VYsd21Hyt/+jMvBqkWGNLARisa2V2UA6RZUbbcqGGWU4fkaMUcEIVyNSCEBWK3VgrRrpfLAMM1BmUzMGXGdmKzLmHZjHCWGnudAX6rSFGo7EE78+VRvD+004jy8s2YAXM5KbMMTEpWB41ibWgUBmSnNqzEnSKIxPfR42MuqCE9whEdxqdKlWtR5DaiAd/TDqHg2XBjAy8IpDpqJRpv3gu2ynUbA53gKVxLjeYbK5+MzzLojy7o7iJZQJiQ4PdjSFIW9wGGo8tsSvHuOT5RiY5jmFjyeblKMqeKWF4aLGNV5d4VKith54msr2aijtVyuUVWUxtpiAuM7lCNO6nyO2F4+FwKUaCDLkxgxqwCgxgEgqpCmgDqBArrgKt2h4vmcrG/d5ozF8lmMwHKR+BoVR1dAqgd0+rTTavs0edznDczMmdMDytKj5cTDWqAowk0MF0KvhIINGyCOe+F8nwCFdSfQ8uiSbOFVKarI1LpAYXy8rOJCLhEKMHWKNXVdAYIoIXooIFhfTlgPXYd6p1LsCvMXZK0K+WGOXjHf6tO+txqpNJ2bZa8WvzvybfliPy3EAJSe7Qu0jAe4KppxerTquot7uyw3HR7wnPJNIWC6dI1gGQncl1YhOQ5HxDbc16h1n4DHCFNkWxNEAbksL1Ak/AeRw9lzLCRFG4I3/Hr088eZtGljXSANQBu+XI7bb/PA0Z75TWwHPc9G5mqG/S/34Bhwxf6RLp07qaYKQLsbEE70b3vc36YQHDxnYJ4Z5GZS5UmNtBFHkArEgejc+oPMv8AKgfS5ed6R51yX0r8b9OuEOzfvZj9s3W7okWdzXKq9L60ArXsWUjh7gc+/f8ALGMXr6z+5+OMu9m3Bc1Nkn7rOHLR99JQjjVmLeEEszfZ2FBa9T5WHsP2gzP0nMZHOMJJoAHWQADWhrcgUPtKfmQeVkLidf8Ad/HHhD/3fxxS8xn5s/mMyqZpsplco3ds6aQ7yAeMl22VF5bc/wBzLsV2jzX01st3hz+V305oKaSgTTPWluWnmdyCDzGA0ABwPsD78dmIspV63BBqxsRXPmD8MU7L9mc9mTLJm85Ll2LMIo8s4CIo91m2t78j0+NBx7NePTZnLyrmGDywTNCXqtWkA2a2vcj5DrgIHsLwePK8az0MV6FiQjUbPi7tzvzO7Hnv8cXjiDQs65YsBJLcgWrJCFdR9BuB/wCDiqcA/wDqDiH7KL8kOIc8DzEnHZlGddJBBrEgjU0pZR3QUnSFF/G9+ZJwFv7ecBSfh8okZyYo3kUqxUFkRiNSjwsNuRHwrHPsw/8AlWW/Vb/9j4Wz+Qlh4bmUmnbMP3Mx1sqqaMbUKXbbFX7Hdns7LwyAxZ4wDQTGiRKRuzH6xmtmJPlQHkeoaDlcmVdnJBLeQrl/iOHRxUvZ32mmzMc0WZA+kZaQxyECtXOjQ2u1YbbGr64t2AisujTojkjr570zAcmA9eRxK4MGAMGDDXiPFIoE1yuqL5nr6AcyfQYBVIACSL36dB8MexwKvIAXikZ72sQqaiid/ViEH8T94GGP+t1v/TLX7X/+MBo0/ut8D+7GC8B/tMH7WP8AOuNAg9q0LAiSGRLB3Uhh/wBJ/DFA4D/aYP2sf51wG+YZRf17fq/+3D3DHinE4cshllYKOV9T6AcyfQYB9gxmnE/aw5NQRKB+lISSf8KkAfecMF9pucU2yxkHoUI+7xYDQ8llH1y94hUSjoQa5g7+Z1eXQ4dtHTgDpGQPkVGKt2f9pkczLHMndM2wa7Qn1OxW/Wx64uuAqh4HnQhAmtu7VQTK1B6XWx8BJ8QLKQRsdJFADE1wuFoYnMulfHJISGsAMxfclRyvfbEgzULOwGMr7d9tu/JggP1Q95h9sjoP7g/H4cwkeB9q5M1xUaXYQ6XCpexAUkMR+kTv6csXgcTXrtsCOp3JG46G9vnjFezXGvomYWYrrABBF0aIrY+eLr/rXi/9M3/Mv+WAu4zyfjRJFVZIH4jC7jY15YrPZjtrFnJTGsTIwXVvRBAIvcdbIxZpplRSzEKoFkk0APMnAcZP+rX9Ufuwtig8Z9qaISuWj11trawvyUbkfGsQZ9pud96ogv7M19+r+OA1R5yDWkn4YTyuWWJWIsBiXOo8r3PM7DFE4V7V9wMxEAP0472+Knf7j8sXefLwZyEB1SaF6aiLVqNg18cBUPYvIDw4ixffSWPjpOE4ZQO0r0R4spR+OpTXxoDFsyPZXKQPrhy8Ub0V1IgBo8xY6YQi7D5FSpXKQAqQykRrYINgg1d3gKJ2dyWVi4nnMvnkUs0pmg702jByTsrHRrqt6vZh9nGiTcdgjkjgDAySGkjTxEADdiF91AObGhg432ay2bAGYhSSuRPMfBhTAfPHnBOzGWygIy8KR6uZA8R+LG2I9LwFN7N548RfNS5rMyRJDK0a5dJTCqIv2pGUq7E8rJq1b4BH2ScUgRc0glXx5tu7Ba2ZSo0kX4msKTfobxbM92ByM0xmky0bSE2SbonzZQdJPxG+HadlcqJmmGXiEjKVLBRZBGk+m42J6jAVPs9Mp7QcQ3G8UYG/OkhuvhgizaQ9opzKyoHyi6SxABpk5E7fZb7jizQdiMihVkykCshDKRGoIINgg1dg4V432UyucKnMQrIU90mwR6WCCR6HbARvGO0UOZ4fnmibUiRSp3lUjN3TXoY+8ATVja+V499msgPC8rRBpKPpTNt8cS2b7O5aWNIpII2jj3RCg0rQIFDkNjhPLdlMpGsix5eJFlXRIFQAOu+zVzG5wFU7ESj/AEvxVQRRaM7emq/xONAxD5Tshk4nWSPKwo6bqyxgEbEbEDyOJjAGDBgwDXinEUgieVzSoLPr5AepOw+OMhU5jiucomrs/wB2NL6D7via+Vn9rPESEhhB2Yl2/wANBfxJPyGHHsoyAWCSXq76f8KgfxJwE9wfsdlsuoCxqzdXcBmP37D4CsS7ZZSKKqR5ECsKYMBUe0/s/gmRnhURSgEjSKVtuTLyF+Y/HGY8C/tMH7WP8643mf3W+B/djBeA/wBpy/7WP864DfcZJ7Te9+l+MHu9IEf6PIaq6atV31930xrePCMBTuwfY5YY1mlQGZxqAYf1YPIAHk3UnmOXndqzuQjmQpIgdTzB/nY+ow4wYDCe0/BvouZki5qN1J6qwsX6jl8sax2H4kZ8lEzG2AKE+eklQT6kVii+1Qf0xf2K/nkxavZf/Yf+I/8ADAWrM5dZEZHFqwKsPMEURjO+3vZTLZbLCSGPS3eKt62OxDE7MxHTGkYpvtUP9DX9qv5ZMBUPZ/2fizcsizAsFQEUxG5aumLz/q2yX+7b/wDI3+eKz7Jf66f9RfzHGnYCI4L2Vy+VZmhSmYUSWJNXdCzt/wCMV32q973EYQHutRMleYA0avTn6XXpi84CMBlvs87ILOTPMtxqaRSNnPUnzUcvIm/LfT+5GnTQ01VVtXlXKsdgYMBkvtF7MplpVkiGmOW7UclYbmvIEG66UcTXsn4kSk0JOyEOvpqsMPhYB+Zw59rA/osX7UfkkxDeyb+vm/Zj82A1DBgwYAwYMGAMGDBgDBgwYAwYMGAMGDBgDBgwYDLPawD9Ji8u6/62v+GLN7MJAciB+jI4P4N+44Y+1bhZaGOYD+rYq36r1R+TAD/FiF9mfaAQytA5pZSCpPIONq/xDb4geeA1XBgwYDif3W+B/djBeBn+kwftY/zrjep/db4H92MC4Ofr4f2kf51wH0BhpxPikeXjMkraVH4noAOpPlh3jKvanxJmzKRX4Y0DV/ea7P3AD7/PAOeI+0+aRtGViC2aUsNTn4KNgfTxYUh4RxjMbvMYgehfQfujFj51h/7LOEoIGnoF2YqD5KtbDys2T8vLF5wGHdqeETZeYLPJ3rsobVqZtrYVbb9DjQvZf/Yf+I//AE4rHtW/tcf7FfzyYs/sv/sP/Ef/AKcBb8Ur2rn+iR/th+STF1xSfauP6LH+2H5JMBD+yX+un/UX8xxp2Mx9kp+un/UX8xxp2AMcu4AJJAA3JPIDzPphpn+NQwsqyyKjOaUE7np93ryxWfajxFo8qsamu9em/VA1EfM1+OAZcc9qYUlcsgev9o96f8KiiR6kj4YZZY8YzY1BmiQ8iajHyoayPXDH2Z8JSbMs7gMIlDAHlqJoH5UfnXljW8Bj3a3s5m4I1kzM/egtpA1u1Egm/EK6dMSPsm/tE37MfmxOe1b+yJ+2H5JMQfsm/tE37MfmwGoYMGDAGDBgwBgwYMAYMGDAGDBgwBgwYMAYMGDAI5vKLKjRuNSsCpHmDjFu1HZeTJy0bMZPgfz9D5MPL5jG34SzWUSRSkih1PMMLBwGZ9mvaY8QEeZBkUbBx74H96/e+N38cXCPt9kiL78D0KsD92nEXxD2V5dyTE7xenvL8r8X44YL7Ihe+Z29It/z4BftF7TIu7ZMtqd2BGsgqq3tYB3J8tgP3YzONypBBoggg+RG4xs3BOwmWyx1KC8nR33I9VAAA+NX64Z9mPZ3Fl6eapZem3gX4A8z6n5VgGXZHinE55EaQDuPtM6BbFfYoAk+tViL9qnCWWdJwPA6hCfJlur+I5fA41DCGdySSo0cihkYUQf55+uAy/sJ21TKq0UwPdltSsBekkAEEc6NXt1vz2tOf9puURbjLyt0AUqPmWAr5A4Y5z2TRFrjmdB5MoavgbU/feF+G+yzLobld5a6e6vzA3P34DPuO5+bNMczKp0sdCkA6RW+gH0u/vxNdj+3QycbRPGXUnUpUgEEgAg302v7+eNRn4TE8XctGpiqtFUB5VXKvTFbX2XZTXquUi/c1ivhenVXzwCvYbiM+Z7/ADEpIR2AiS9lC2Dp+8AnqQcOu3XCjmMlIqi2WpFHnp5gepW8TmXy6xqEQBVUUAOQA6DCmAwrs12gbJziVRqBGllurU0efQ2ARi4cS9rAKVBCQ5+1IRQ+Snf7xiX477N4J3LoxhY7nSAVJ6nT0PwIxzwf2Z5eFg0hMxHIMAF/5Rz+ZI9MBX+yPZaXOS/S80WKWGGrnIRy+EY+48htiw+0zhTS5QOoswtrI/ukEMflsfgDi3AVgIwGJdkO0f0OfWQWRhpcDnVggj1BH78aLJ7SckFsO5P6Ija/xAH44bcX9mEErFomaEncgAFPkpoj4A16YaZX2SxA3JO7DyVQv4ktgKx2n7Sy8QJ0RsIYhr0jeumtyPjXpvz3OGnZPtIclOZNOtWXSyg0asEEeoI/fjYuG8Ghy6d3FGqr18z+sTuT8cQGd9meUkfUA8d81Rhp+QKmvgNsAz4D2nmz+eUxho8vErFlv3iwIXVW13uB/dJxeMMeEcFiysfdwrpXmepJ8yepw+wBgwYMAYMGDAGDBgwBgwYMAYMGDAGDBgwBgwYMAYMGDAGDBgwBgwYMAYMGDAGDBgwBgwYMAYMGDAGDBgwBgwYMAYMGDAGDBgwBgwYMAYMGDAGDBgwBgwYMAYMGDAGDBgwH/9k=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51" name="Picture 2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4434840"/>
            <a:ext cx="1447800" cy="8991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52" name="Picture 28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10" t="15695" r="50000" b="16433"/>
          <a:stretch/>
        </p:blipFill>
        <p:spPr bwMode="auto">
          <a:xfrm>
            <a:off x="5998646" y="5212747"/>
            <a:ext cx="942148" cy="1254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54" name="Picture 30" descr="http://t3.gstatic.com/images?q=tbn:ANd9GcQNQCRlzWUSfnXwAi3DsHh0-Kjq2blToF_6xzg3_ETmsnfji5CL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00" t="8247" r="12461" b="14263"/>
          <a:stretch/>
        </p:blipFill>
        <p:spPr bwMode="auto">
          <a:xfrm>
            <a:off x="3581400" y="3668555"/>
            <a:ext cx="1311733" cy="1011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Dropbox logo.sv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0999" y="1295400"/>
            <a:ext cx="2095500" cy="56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75" y="4329122"/>
            <a:ext cx="737406" cy="10323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24784" y="1589326"/>
            <a:ext cx="264221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/>
              <a:t>In </a:t>
            </a:r>
            <a:r>
              <a:rPr lang="en-US" sz="1600" dirty="0"/>
              <a:t>2012, &gt; 200 courses, 33 </a:t>
            </a:r>
            <a:r>
              <a:rPr lang="en-US" sz="1600" dirty="0" smtClean="0"/>
              <a:t>universities, 1.9M </a:t>
            </a:r>
            <a:r>
              <a:rPr lang="en-US" sz="1600" dirty="0"/>
              <a:t>students accessing video/audio lectures and </a:t>
            </a:r>
            <a:r>
              <a:rPr lang="en-US" sz="1600" dirty="0" smtClean="0"/>
              <a:t>presentation</a:t>
            </a:r>
          </a:p>
          <a:p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/>
              <a:t>Sep 2012- effected </a:t>
            </a:r>
            <a:r>
              <a:rPr lang="en-US" sz="1600" dirty="0"/>
              <a:t>by DDOS attack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895600" y="1857375"/>
            <a:ext cx="29718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100M </a:t>
            </a:r>
            <a:r>
              <a:rPr lang="en-US" sz="1600" dirty="0" smtClean="0"/>
              <a:t>users, 100 PB</a:t>
            </a:r>
          </a:p>
          <a:p>
            <a:r>
              <a:rPr lang="en-US" sz="1600" dirty="0" smtClean="0"/>
              <a:t>All of their user files were publicly accessible for 4 </a:t>
            </a:r>
            <a:r>
              <a:rPr lang="en-US" sz="1600" dirty="0" err="1" smtClean="0"/>
              <a:t>hrs</a:t>
            </a:r>
            <a:r>
              <a:rPr lang="en-US" sz="1600" dirty="0" smtClean="0"/>
              <a:t> due to authentication fault</a:t>
            </a:r>
            <a:endParaRPr lang="en-US" sz="1600" dirty="0"/>
          </a:p>
        </p:txBody>
      </p:sp>
      <p:sp>
        <p:nvSpPr>
          <p:cNvPr id="13" name="Rectangle 12"/>
          <p:cNvSpPr/>
          <p:nvPr/>
        </p:nvSpPr>
        <p:spPr>
          <a:xfrm>
            <a:off x="1970038" y="3627203"/>
            <a:ext cx="188431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dirty="0"/>
              <a:t>1B active </a:t>
            </a:r>
            <a:r>
              <a:rPr lang="fr-FR" sz="1600" dirty="0" err="1"/>
              <a:t>users</a:t>
            </a:r>
            <a:r>
              <a:rPr lang="fr-FR" sz="1600" dirty="0"/>
              <a:t>, 500M uses mobile </a:t>
            </a:r>
            <a:r>
              <a:rPr lang="fr-FR" sz="1600" dirty="0" err="1" smtClean="0"/>
              <a:t>devices</a:t>
            </a:r>
            <a:endParaRPr lang="fr-FR" sz="1600" dirty="0" smtClean="0"/>
          </a:p>
        </p:txBody>
      </p:sp>
      <p:sp>
        <p:nvSpPr>
          <p:cNvPr id="14" name="Rectangle 13"/>
          <p:cNvSpPr/>
          <p:nvPr/>
        </p:nvSpPr>
        <p:spPr>
          <a:xfrm>
            <a:off x="4930664" y="3913623"/>
            <a:ext cx="179277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500M active users, handles 1.6B queries per day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762420" y="5610864"/>
            <a:ext cx="200219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8 petabytes/</a:t>
            </a:r>
            <a:r>
              <a:rPr lang="en-US" sz="1600" dirty="0" err="1"/>
              <a:t>yr</a:t>
            </a:r>
            <a:r>
              <a:rPr lang="en-US" sz="1600" dirty="0"/>
              <a:t>, 20hrs of new video/min</a:t>
            </a:r>
          </a:p>
        </p:txBody>
      </p:sp>
      <p:sp>
        <p:nvSpPr>
          <p:cNvPr id="16" name="Rectangle 15"/>
          <p:cNvSpPr/>
          <p:nvPr/>
        </p:nvSpPr>
        <p:spPr>
          <a:xfrm>
            <a:off x="6858000" y="1296938"/>
            <a:ext cx="22860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/>
              <a:t>170 </a:t>
            </a:r>
            <a:r>
              <a:rPr lang="en-US" sz="1600" dirty="0"/>
              <a:t>million Gmail </a:t>
            </a:r>
            <a:r>
              <a:rPr lang="en-US" sz="1600" dirty="0" smtClean="0"/>
              <a:t>users. Two major failures in Dec 2012 when Gmail upgraded its attachment capability to 10GB. </a:t>
            </a:r>
            <a:endParaRPr lang="en-US" sz="1600" dirty="0"/>
          </a:p>
        </p:txBody>
      </p:sp>
      <p:sp>
        <p:nvSpPr>
          <p:cNvPr id="25" name="Rectangle 24"/>
          <p:cNvSpPr/>
          <p:nvPr/>
        </p:nvSpPr>
        <p:spPr>
          <a:xfrm>
            <a:off x="40706" y="5410200"/>
            <a:ext cx="201541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dirty="0"/>
              <a:t>1B </a:t>
            </a:r>
            <a:r>
              <a:rPr lang="fr-FR" sz="1600" dirty="0" err="1" smtClean="0"/>
              <a:t>Txn</a:t>
            </a:r>
            <a:r>
              <a:rPr lang="fr-FR" sz="1600" dirty="0" smtClean="0"/>
              <a:t>/</a:t>
            </a:r>
            <a:r>
              <a:rPr lang="fr-FR" sz="1600" dirty="0" err="1" smtClean="0"/>
              <a:t>day</a:t>
            </a:r>
            <a:r>
              <a:rPr lang="fr-FR" sz="1600" dirty="0" smtClean="0"/>
              <a:t>. </a:t>
            </a:r>
          </a:p>
          <a:p>
            <a:r>
              <a:rPr lang="fr-FR" sz="1600" dirty="0" err="1" smtClean="0"/>
              <a:t>They</a:t>
            </a:r>
            <a:r>
              <a:rPr lang="fr-FR" sz="1600" dirty="0" smtClean="0"/>
              <a:t> </a:t>
            </a:r>
            <a:r>
              <a:rPr lang="fr-FR" sz="1600" dirty="0" err="1" smtClean="0"/>
              <a:t>need</a:t>
            </a:r>
            <a:r>
              <a:rPr lang="fr-FR" sz="1600" dirty="0" smtClean="0"/>
              <a:t> to </a:t>
            </a:r>
            <a:r>
              <a:rPr lang="fr-FR" sz="1600" dirty="0" err="1" smtClean="0"/>
              <a:t>detect</a:t>
            </a:r>
            <a:r>
              <a:rPr lang="fr-FR" sz="1600" dirty="0" smtClean="0"/>
              <a:t> </a:t>
            </a:r>
            <a:r>
              <a:rPr lang="fr-FR" sz="1600" dirty="0" err="1" smtClean="0"/>
              <a:t>credit</a:t>
            </a:r>
            <a:r>
              <a:rPr lang="fr-FR" sz="1600" dirty="0" smtClean="0"/>
              <a:t> </a:t>
            </a:r>
            <a:r>
              <a:rPr lang="fr-FR" sz="1600" dirty="0" err="1" smtClean="0"/>
              <a:t>card</a:t>
            </a:r>
            <a:r>
              <a:rPr lang="fr-FR" sz="1600" dirty="0" smtClean="0"/>
              <a:t> </a:t>
            </a:r>
            <a:r>
              <a:rPr lang="fr-FR" sz="1600" dirty="0" err="1" smtClean="0"/>
              <a:t>fraud</a:t>
            </a:r>
            <a:r>
              <a:rPr lang="fr-FR" sz="1600" dirty="0" smtClean="0"/>
              <a:t> </a:t>
            </a:r>
            <a:r>
              <a:rPr lang="fr-FR" sz="1600" dirty="0" err="1" smtClean="0"/>
              <a:t>within</a:t>
            </a:r>
            <a:r>
              <a:rPr lang="fr-FR" sz="1600" dirty="0" smtClean="0"/>
              <a:t> 5ms.</a:t>
            </a:r>
          </a:p>
        </p:txBody>
      </p:sp>
      <p:sp>
        <p:nvSpPr>
          <p:cNvPr id="26" name="Rectangle 25"/>
          <p:cNvSpPr/>
          <p:nvPr/>
        </p:nvSpPr>
        <p:spPr>
          <a:xfrm>
            <a:off x="7206925" y="2922747"/>
            <a:ext cx="192229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/>
              <a:t>185,000 applications on Force.com</a:t>
            </a:r>
          </a:p>
          <a:p>
            <a:r>
              <a:rPr lang="en-US" sz="1600" dirty="0" smtClean="0"/>
              <a:t>6M </a:t>
            </a:r>
            <a:r>
              <a:rPr lang="en-US" sz="1600" dirty="0" err="1" smtClean="0"/>
              <a:t>Txn</a:t>
            </a:r>
            <a:r>
              <a:rPr lang="en-US" sz="1600" dirty="0" smtClean="0"/>
              <a:t>/day</a:t>
            </a:r>
            <a:endParaRPr lang="en-US" sz="16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FA57706-3B35-4B47-B019-174E43EE7B6C}" type="datetime1">
              <a:rPr lang="en-US" smtClean="0"/>
              <a:t>3/31/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149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US" dirty="0" smtClean="0"/>
              <a:t>Data Deluge- </a:t>
            </a:r>
            <a:r>
              <a:rPr lang="en-US" sz="4800" dirty="0" smtClean="0"/>
              <a:t>structured</a:t>
            </a:r>
            <a:r>
              <a:rPr lang="en-US" sz="4800" dirty="0"/>
              <a:t>, unstructured text, audio, and video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68014413"/>
              </p:ext>
            </p:extLst>
          </p:nvPr>
        </p:nvGraphicFramePr>
        <p:xfrm>
          <a:off x="152400" y="1295400"/>
          <a:ext cx="8839200" cy="487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733A4D2-9EAB-4357-9E5D-432D27B607B5}" type="datetime1">
              <a:rPr lang="en-US" smtClean="0"/>
              <a:t>3/31/201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371600" y="6149965"/>
            <a:ext cx="4572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800" dirty="0"/>
              <a:t>(http://www.emc.com/collateral/analyst-reports/diverse-exploding-digital-universe.pdf)</a:t>
            </a:r>
          </a:p>
          <a:p>
            <a:r>
              <a:rPr lang="en-US" sz="800" dirty="0"/>
              <a:t>(http://hmi.ucsd.edu/pdf/HMI_2009_ConsumerReport_Dec9_2009.pdf),</a:t>
            </a:r>
          </a:p>
          <a:p>
            <a:r>
              <a:rPr lang="en-US" sz="800" dirty="0"/>
              <a:t>(</a:t>
            </a:r>
            <a:r>
              <a:rPr lang="en-US" sz="800" dirty="0">
                <a:hlinkClick r:id="rId7"/>
              </a:rPr>
              <a:t>http://www2.sims.berkeley.edu/research/projects/how-much-info-2003/printable_report.pdf</a:t>
            </a:r>
            <a:r>
              <a:rPr lang="en-US" sz="800" dirty="0"/>
              <a:t>)</a:t>
            </a:r>
          </a:p>
          <a:p>
            <a:r>
              <a:rPr lang="en-US" sz="800" u="sng" dirty="0">
                <a:hlinkClick r:id="rId8"/>
              </a:rPr>
              <a:t>http://www.mckinsey.com/mgi/publications/big_data/index.asp</a:t>
            </a:r>
            <a:endParaRPr lang="en-US" sz="800" u="sng" dirty="0"/>
          </a:p>
          <a:p>
            <a:r>
              <a:rPr lang="en-US" sz="800" u="sng" dirty="0">
                <a:hlinkClick r:id="rId9"/>
              </a:rPr>
              <a:t>http://www.reuters.com/article/2011/07/19/idUS319973276120110719</a:t>
            </a:r>
            <a:endParaRPr lang="en-US" sz="80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863856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D12DBB69-F90E-403C-A495-5F22D6BA7A3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9434E805-80E4-488E-8403-A8D1653C770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FB9D9ADF-97FB-481B-8FAE-D63E3E845E7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B060186A-6220-4172-8A29-1AFD90CCCFF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7C5F91EF-DA48-48C8-9613-CE3A4D1F94E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BBBB1D00-DB29-4526-86AD-E32211C65EA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C348CE23-EB5C-4F41-9B21-26C2E3BCCF1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D7F4BAC5-875B-407D-A6B3-3CC16258BD8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Sub>
          <a:bldDgm bld="lvlAtOnce"/>
        </p:bldSub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0778FA-E6CF-448B-8CE8-E2FA819B753B}" type="datetime1">
              <a:rPr lang="en-US" smtClean="0"/>
              <a:t>3/31/201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4907463-2C46-4BDC-A2F7-5D5E6C457E54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6" y="203200"/>
            <a:ext cx="8856024" cy="1016000"/>
          </a:xfrm>
        </p:spPr>
        <p:txBody>
          <a:bodyPr/>
          <a:lstStyle/>
          <a:p>
            <a:r>
              <a:rPr lang="en-US" sz="4000" dirty="0" smtClean="0"/>
              <a:t>Traditional  versus Cloud Computing (Layered Rubric)</a:t>
            </a:r>
            <a:endParaRPr lang="en-US" sz="4000" dirty="0"/>
          </a:p>
        </p:txBody>
      </p:sp>
      <p:sp>
        <p:nvSpPr>
          <p:cNvPr id="6" name="Rounded Rectangle 5"/>
          <p:cNvSpPr/>
          <p:nvPr/>
        </p:nvSpPr>
        <p:spPr>
          <a:xfrm>
            <a:off x="53038" y="1371600"/>
            <a:ext cx="3411474" cy="5152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lient (presentation and devices)</a:t>
            </a:r>
            <a:endParaRPr lang="en-US" dirty="0"/>
          </a:p>
        </p:txBody>
      </p:sp>
      <p:sp>
        <p:nvSpPr>
          <p:cNvPr id="9" name="Up-Down Arrow 8"/>
          <p:cNvSpPr/>
          <p:nvPr/>
        </p:nvSpPr>
        <p:spPr>
          <a:xfrm>
            <a:off x="1191768" y="1905000"/>
            <a:ext cx="484632" cy="702621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/>
          <p:cNvGrpSpPr/>
          <p:nvPr/>
        </p:nvGrpSpPr>
        <p:grpSpPr>
          <a:xfrm>
            <a:off x="370645" y="2640366"/>
            <a:ext cx="2731532" cy="3810000"/>
            <a:chOff x="228600" y="2743200"/>
            <a:chExt cx="2731532" cy="3810000"/>
          </a:xfrm>
        </p:grpSpPr>
        <p:sp>
          <p:nvSpPr>
            <p:cNvPr id="1026" name="server"/>
            <p:cNvSpPr>
              <a:spLocks noEditPoints="1" noChangeArrowheads="1"/>
            </p:cNvSpPr>
            <p:nvPr/>
          </p:nvSpPr>
          <p:spPr bwMode="auto">
            <a:xfrm>
              <a:off x="228600" y="2743200"/>
              <a:ext cx="2362200" cy="3810000"/>
            </a:xfrm>
            <a:custGeom>
              <a:avLst/>
              <a:gdLst>
                <a:gd name="T0" fmla="*/ 0 w 21600"/>
                <a:gd name="T1" fmla="*/ 0 h 21600"/>
                <a:gd name="T2" fmla="*/ 10800 w 21600"/>
                <a:gd name="T3" fmla="*/ 0 h 21600"/>
                <a:gd name="T4" fmla="*/ 21600 w 21600"/>
                <a:gd name="T5" fmla="*/ 0 h 21600"/>
                <a:gd name="T6" fmla="*/ 21600 w 21600"/>
                <a:gd name="T7" fmla="*/ 10800 h 21600"/>
                <a:gd name="T8" fmla="*/ 21600 w 21600"/>
                <a:gd name="T9" fmla="*/ 21600 h 21600"/>
                <a:gd name="T10" fmla="*/ 10800 w 21600"/>
                <a:gd name="T11" fmla="*/ 21600 h 21600"/>
                <a:gd name="T12" fmla="*/ 0 w 21600"/>
                <a:gd name="T13" fmla="*/ 21600 h 21600"/>
                <a:gd name="T14" fmla="*/ 0 w 21600"/>
                <a:gd name="T15" fmla="*/ 10800 h 21600"/>
                <a:gd name="T16" fmla="*/ 761 w 21600"/>
                <a:gd name="T17" fmla="*/ 22454 h 21600"/>
                <a:gd name="T18" fmla="*/ 21069 w 21600"/>
                <a:gd name="T19" fmla="*/ 28282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 extrusionOk="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  <a:path w="21600" h="21600" extrusionOk="0">
                  <a:moveTo>
                    <a:pt x="1662" y="1709"/>
                  </a:moveTo>
                  <a:lnTo>
                    <a:pt x="9046" y="1709"/>
                  </a:lnTo>
                  <a:lnTo>
                    <a:pt x="9046" y="2331"/>
                  </a:lnTo>
                  <a:lnTo>
                    <a:pt x="1662" y="2331"/>
                  </a:lnTo>
                  <a:lnTo>
                    <a:pt x="1662" y="1709"/>
                  </a:lnTo>
                  <a:moveTo>
                    <a:pt x="0" y="4351"/>
                  </a:moveTo>
                  <a:lnTo>
                    <a:pt x="10892" y="4351"/>
                  </a:lnTo>
                  <a:lnTo>
                    <a:pt x="10892" y="14141"/>
                  </a:lnTo>
                  <a:lnTo>
                    <a:pt x="21600" y="14141"/>
                  </a:lnTo>
                  <a:moveTo>
                    <a:pt x="11631" y="1243"/>
                  </a:moveTo>
                  <a:lnTo>
                    <a:pt x="20492" y="1243"/>
                  </a:lnTo>
                  <a:lnTo>
                    <a:pt x="20492" y="1554"/>
                  </a:lnTo>
                  <a:lnTo>
                    <a:pt x="11631" y="1554"/>
                  </a:lnTo>
                  <a:lnTo>
                    <a:pt x="11631" y="1243"/>
                  </a:lnTo>
                  <a:moveTo>
                    <a:pt x="11631" y="3263"/>
                  </a:moveTo>
                  <a:lnTo>
                    <a:pt x="20492" y="3263"/>
                  </a:lnTo>
                  <a:lnTo>
                    <a:pt x="20492" y="3574"/>
                  </a:lnTo>
                  <a:lnTo>
                    <a:pt x="11631" y="3574"/>
                  </a:lnTo>
                  <a:lnTo>
                    <a:pt x="11631" y="3263"/>
                  </a:lnTo>
                  <a:moveTo>
                    <a:pt x="11631" y="6060"/>
                  </a:moveTo>
                  <a:lnTo>
                    <a:pt x="20492" y="6060"/>
                  </a:lnTo>
                  <a:lnTo>
                    <a:pt x="20492" y="6371"/>
                  </a:lnTo>
                  <a:lnTo>
                    <a:pt x="11631" y="6371"/>
                  </a:lnTo>
                  <a:lnTo>
                    <a:pt x="11631" y="6060"/>
                  </a:lnTo>
                  <a:moveTo>
                    <a:pt x="11631" y="8081"/>
                  </a:moveTo>
                  <a:lnTo>
                    <a:pt x="20308" y="8081"/>
                  </a:lnTo>
                  <a:lnTo>
                    <a:pt x="20308" y="8391"/>
                  </a:lnTo>
                  <a:lnTo>
                    <a:pt x="11631" y="8391"/>
                  </a:lnTo>
                  <a:lnTo>
                    <a:pt x="11631" y="8081"/>
                  </a:lnTo>
                  <a:moveTo>
                    <a:pt x="11631" y="4196"/>
                  </a:moveTo>
                  <a:lnTo>
                    <a:pt x="12369" y="4196"/>
                  </a:lnTo>
                  <a:lnTo>
                    <a:pt x="12369" y="4817"/>
                  </a:lnTo>
                  <a:lnTo>
                    <a:pt x="11631" y="4817"/>
                  </a:lnTo>
                  <a:lnTo>
                    <a:pt x="11631" y="4196"/>
                  </a:lnTo>
                  <a:moveTo>
                    <a:pt x="14400" y="4196"/>
                  </a:moveTo>
                  <a:lnTo>
                    <a:pt x="15138" y="4196"/>
                  </a:lnTo>
                  <a:lnTo>
                    <a:pt x="15138" y="4817"/>
                  </a:lnTo>
                  <a:lnTo>
                    <a:pt x="14400" y="4817"/>
                  </a:lnTo>
                  <a:lnTo>
                    <a:pt x="14400" y="4196"/>
                  </a:lnTo>
                  <a:moveTo>
                    <a:pt x="16985" y="4196"/>
                  </a:moveTo>
                  <a:lnTo>
                    <a:pt x="17723" y="4196"/>
                  </a:lnTo>
                  <a:lnTo>
                    <a:pt x="17723" y="4817"/>
                  </a:lnTo>
                  <a:lnTo>
                    <a:pt x="16985" y="4817"/>
                  </a:lnTo>
                  <a:lnTo>
                    <a:pt x="16985" y="4196"/>
                  </a:lnTo>
                  <a:moveTo>
                    <a:pt x="19754" y="4196"/>
                  </a:moveTo>
                  <a:lnTo>
                    <a:pt x="20492" y="4196"/>
                  </a:lnTo>
                  <a:lnTo>
                    <a:pt x="20492" y="4817"/>
                  </a:lnTo>
                  <a:lnTo>
                    <a:pt x="19754" y="4817"/>
                  </a:lnTo>
                  <a:lnTo>
                    <a:pt x="19754" y="4196"/>
                  </a:lnTo>
                  <a:moveTo>
                    <a:pt x="11631" y="9635"/>
                  </a:moveTo>
                  <a:lnTo>
                    <a:pt x="12369" y="9635"/>
                  </a:lnTo>
                  <a:lnTo>
                    <a:pt x="12369" y="10256"/>
                  </a:lnTo>
                  <a:lnTo>
                    <a:pt x="11631" y="10256"/>
                  </a:lnTo>
                  <a:lnTo>
                    <a:pt x="11631" y="9635"/>
                  </a:lnTo>
                  <a:moveTo>
                    <a:pt x="14400" y="9635"/>
                  </a:moveTo>
                  <a:lnTo>
                    <a:pt x="15138" y="9635"/>
                  </a:lnTo>
                  <a:lnTo>
                    <a:pt x="15138" y="10256"/>
                  </a:lnTo>
                  <a:lnTo>
                    <a:pt x="14400" y="10256"/>
                  </a:lnTo>
                  <a:lnTo>
                    <a:pt x="14400" y="9635"/>
                  </a:lnTo>
                  <a:moveTo>
                    <a:pt x="16985" y="9635"/>
                  </a:moveTo>
                  <a:lnTo>
                    <a:pt x="17723" y="9635"/>
                  </a:lnTo>
                  <a:lnTo>
                    <a:pt x="17723" y="10256"/>
                  </a:lnTo>
                  <a:lnTo>
                    <a:pt x="16985" y="10256"/>
                  </a:lnTo>
                  <a:lnTo>
                    <a:pt x="16985" y="9635"/>
                  </a:lnTo>
                  <a:moveTo>
                    <a:pt x="19754" y="9635"/>
                  </a:moveTo>
                  <a:lnTo>
                    <a:pt x="20492" y="9635"/>
                  </a:lnTo>
                  <a:lnTo>
                    <a:pt x="20492" y="10256"/>
                  </a:lnTo>
                  <a:lnTo>
                    <a:pt x="19754" y="10256"/>
                  </a:lnTo>
                  <a:lnTo>
                    <a:pt x="19754" y="9635"/>
                  </a:lnTo>
                  <a:moveTo>
                    <a:pt x="10892" y="14141"/>
                  </a:moveTo>
                  <a:lnTo>
                    <a:pt x="10892" y="15384"/>
                  </a:lnTo>
                  <a:lnTo>
                    <a:pt x="10892" y="20046"/>
                  </a:lnTo>
                  <a:lnTo>
                    <a:pt x="10892" y="21600"/>
                  </a:lnTo>
                  <a:lnTo>
                    <a:pt x="10892" y="14141"/>
                  </a:lnTo>
                  <a:moveTo>
                    <a:pt x="10892" y="4351"/>
                  </a:moveTo>
                  <a:lnTo>
                    <a:pt x="10892" y="3574"/>
                  </a:lnTo>
                  <a:lnTo>
                    <a:pt x="10892" y="932"/>
                  </a:lnTo>
                  <a:lnTo>
                    <a:pt x="10892" y="0"/>
                  </a:lnTo>
                  <a:lnTo>
                    <a:pt x="10892" y="4351"/>
                  </a:lnTo>
                </a:path>
              </a:pathLst>
            </a:custGeom>
            <a:solidFill>
              <a:srgbClr val="FFFFCC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7" name="Group 46"/>
            <p:cNvGrpSpPr/>
            <p:nvPr/>
          </p:nvGrpSpPr>
          <p:grpSpPr>
            <a:xfrm>
              <a:off x="304800" y="3646707"/>
              <a:ext cx="2174555" cy="2830293"/>
              <a:chOff x="257175" y="3627281"/>
              <a:chExt cx="2174555" cy="2936806"/>
            </a:xfrm>
          </p:grpSpPr>
          <p:sp>
            <p:nvSpPr>
              <p:cNvPr id="10" name="Rectangle 9"/>
              <p:cNvSpPr/>
              <p:nvPr/>
            </p:nvSpPr>
            <p:spPr>
              <a:xfrm>
                <a:off x="276358" y="6210594"/>
                <a:ext cx="2155372" cy="353493"/>
              </a:xfrm>
              <a:prstGeom prst="rect">
                <a:avLst/>
              </a:prstGeom>
              <a:solidFill>
                <a:schemeClr val="accent6">
                  <a:alpha val="78000"/>
                </a:schemeClr>
              </a:solidFill>
              <a:ln>
                <a:solidFill>
                  <a:schemeClr val="accent6">
                    <a:shade val="50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</a:rPr>
                  <a:t>Physical Hardware</a:t>
                </a:r>
                <a:endParaRPr lang="en-US" sz="1400" b="1" dirty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265468" y="5803961"/>
                <a:ext cx="2155372" cy="353493"/>
              </a:xfrm>
              <a:prstGeom prst="rect">
                <a:avLst/>
              </a:prstGeom>
              <a:solidFill>
                <a:schemeClr val="accent6">
                  <a:alpha val="78000"/>
                </a:schemeClr>
              </a:solidFill>
              <a:ln>
                <a:solidFill>
                  <a:schemeClr val="accent6">
                    <a:shade val="50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</a:rPr>
                  <a:t>Virtual Hardware</a:t>
                </a:r>
                <a:endParaRPr lang="en-US" sz="1400" b="1" dirty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265464" y="5408622"/>
                <a:ext cx="2155372" cy="353493"/>
              </a:xfrm>
              <a:prstGeom prst="rect">
                <a:avLst/>
              </a:prstGeom>
              <a:solidFill>
                <a:schemeClr val="accent6">
                  <a:alpha val="78000"/>
                </a:schemeClr>
              </a:solidFill>
              <a:ln>
                <a:solidFill>
                  <a:schemeClr val="accent6">
                    <a:shade val="50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</a:rPr>
                  <a:t>OS</a:t>
                </a:r>
                <a:endParaRPr lang="en-US" sz="1400" b="1" dirty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57175" y="5001088"/>
                <a:ext cx="2155372" cy="353493"/>
              </a:xfrm>
              <a:prstGeom prst="rect">
                <a:avLst/>
              </a:prstGeom>
              <a:solidFill>
                <a:schemeClr val="accent6">
                  <a:alpha val="78000"/>
                </a:schemeClr>
              </a:solidFill>
              <a:ln>
                <a:solidFill>
                  <a:schemeClr val="accent6">
                    <a:shade val="50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</a:rPr>
                  <a:t>Process</a:t>
                </a:r>
                <a:endParaRPr lang="en-US" sz="1400" b="1" dirty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273503" y="4440043"/>
                <a:ext cx="2155372" cy="511628"/>
              </a:xfrm>
              <a:prstGeom prst="rect">
                <a:avLst/>
              </a:prstGeom>
              <a:solidFill>
                <a:schemeClr val="accent6">
                  <a:alpha val="78000"/>
                </a:schemeClr>
              </a:solidFill>
              <a:ln>
                <a:solidFill>
                  <a:schemeClr val="accent6">
                    <a:shade val="50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</a:rPr>
                  <a:t>Application Framework, Middleware, Database</a:t>
                </a:r>
                <a:endParaRPr lang="en-US" sz="1400" b="1" dirty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273503" y="4044704"/>
                <a:ext cx="2155372" cy="353493"/>
              </a:xfrm>
              <a:prstGeom prst="rect">
                <a:avLst/>
              </a:prstGeom>
              <a:solidFill>
                <a:schemeClr val="accent6">
                  <a:alpha val="78000"/>
                </a:schemeClr>
              </a:solidFill>
              <a:ln>
                <a:solidFill>
                  <a:schemeClr val="accent6">
                    <a:shade val="50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</a:rPr>
                  <a:t>Service</a:t>
                </a:r>
                <a:endParaRPr lang="en-US" sz="1400" b="1" dirty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66700" y="3627281"/>
                <a:ext cx="2155372" cy="353494"/>
              </a:xfrm>
              <a:prstGeom prst="rect">
                <a:avLst/>
              </a:prstGeom>
              <a:solidFill>
                <a:schemeClr val="accent6">
                  <a:alpha val="78000"/>
                </a:schemeClr>
              </a:solidFill>
              <a:ln>
                <a:solidFill>
                  <a:schemeClr val="accent6">
                    <a:shade val="50000"/>
                  </a:schemeClr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</a:rPr>
                  <a:t>Application</a:t>
                </a:r>
                <a:endParaRPr lang="en-US" sz="1400" b="1" dirty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endParaRPr>
              </a:p>
            </p:txBody>
          </p:sp>
        </p:grpSp>
        <p:sp>
          <p:nvSpPr>
            <p:cNvPr id="32" name="TextBox 31"/>
            <p:cNvSpPr txBox="1"/>
            <p:nvPr/>
          </p:nvSpPr>
          <p:spPr>
            <a:xfrm rot="16200000">
              <a:off x="894182" y="4439818"/>
              <a:ext cx="37625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Computing Infrastructure (HW/SW)</a:t>
              </a:r>
              <a:endParaRPr lang="en-US" dirty="0"/>
            </a:p>
          </p:txBody>
        </p:sp>
      </p:grpSp>
      <p:sp>
        <p:nvSpPr>
          <p:cNvPr id="44" name="Rounded Rectangle 43"/>
          <p:cNvSpPr/>
          <p:nvPr/>
        </p:nvSpPr>
        <p:spPr>
          <a:xfrm>
            <a:off x="3962400" y="2438400"/>
            <a:ext cx="4572000" cy="40386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t"/>
          <a:lstStyle/>
          <a:p>
            <a:pPr algn="ctr"/>
            <a:r>
              <a:rPr lang="en-US" dirty="0" smtClean="0"/>
              <a:t>Software As a Service</a:t>
            </a:r>
            <a:endParaRPr lang="en-US" dirty="0"/>
          </a:p>
        </p:txBody>
      </p:sp>
      <p:sp>
        <p:nvSpPr>
          <p:cNvPr id="45" name="Rounded Rectangle 44"/>
          <p:cNvSpPr/>
          <p:nvPr/>
        </p:nvSpPr>
        <p:spPr>
          <a:xfrm>
            <a:off x="4572000" y="3493325"/>
            <a:ext cx="3898075" cy="2971800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tlCol="0" anchor="t"/>
          <a:lstStyle/>
          <a:p>
            <a:pPr algn="ctr"/>
            <a:r>
              <a:rPr lang="en-US" dirty="0" smtClean="0"/>
              <a:t>Platform As a Service</a:t>
            </a:r>
            <a:endParaRPr lang="en-US" dirty="0"/>
          </a:p>
        </p:txBody>
      </p:sp>
      <p:sp>
        <p:nvSpPr>
          <p:cNvPr id="46" name="Rounded Rectangle 45"/>
          <p:cNvSpPr/>
          <p:nvPr/>
        </p:nvSpPr>
        <p:spPr>
          <a:xfrm>
            <a:off x="5257800" y="4724400"/>
            <a:ext cx="3124200" cy="1676400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tlCol="0" anchor="t"/>
          <a:lstStyle/>
          <a:p>
            <a:pPr algn="ctr"/>
            <a:r>
              <a:rPr lang="en-US" dirty="0" smtClean="0"/>
              <a:t>Infrastructure As a Service</a:t>
            </a:r>
            <a:endParaRPr lang="en-US" dirty="0"/>
          </a:p>
        </p:txBody>
      </p:sp>
      <p:grpSp>
        <p:nvGrpSpPr>
          <p:cNvPr id="35" name="Group 46"/>
          <p:cNvGrpSpPr/>
          <p:nvPr/>
        </p:nvGrpSpPr>
        <p:grpSpPr>
          <a:xfrm>
            <a:off x="6077200" y="2590800"/>
            <a:ext cx="2174554" cy="3668496"/>
            <a:chOff x="257175" y="3687040"/>
            <a:chExt cx="2174554" cy="2877047"/>
          </a:xfrm>
        </p:grpSpPr>
        <p:sp>
          <p:nvSpPr>
            <p:cNvPr id="36" name="Rectangle 35"/>
            <p:cNvSpPr/>
            <p:nvPr/>
          </p:nvSpPr>
          <p:spPr>
            <a:xfrm>
              <a:off x="943993" y="6210594"/>
              <a:ext cx="1487736" cy="353493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>
                  <a:shade val="50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Physical Hardware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942975" y="5797282"/>
              <a:ext cx="1477864" cy="353493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>
                  <a:shade val="50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Virtual Hardware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942975" y="5479854"/>
              <a:ext cx="1477860" cy="282260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>
                  <a:shade val="50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OS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257175" y="5001771"/>
              <a:ext cx="2155372" cy="295701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>
                  <a:shade val="50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Process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273503" y="4463926"/>
              <a:ext cx="1221672" cy="487743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>
                  <a:shade val="50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Application Framework, Middleware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257175" y="4045602"/>
              <a:ext cx="2155372" cy="293733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>
                  <a:shade val="50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Service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257175" y="3687040"/>
              <a:ext cx="2155372" cy="293734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>
                  <a:shade val="50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Application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7" name="Rounded Rectangle 46"/>
          <p:cNvSpPr/>
          <p:nvPr/>
        </p:nvSpPr>
        <p:spPr>
          <a:xfrm>
            <a:off x="4741926" y="1313548"/>
            <a:ext cx="3411474" cy="5152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lient (presentation and devices)</a:t>
            </a:r>
            <a:endParaRPr lang="en-US" dirty="0"/>
          </a:p>
        </p:txBody>
      </p:sp>
      <p:sp>
        <p:nvSpPr>
          <p:cNvPr id="48" name="Up-Down Arrow 47"/>
          <p:cNvSpPr/>
          <p:nvPr/>
        </p:nvSpPr>
        <p:spPr>
          <a:xfrm>
            <a:off x="6553200" y="1828800"/>
            <a:ext cx="484632" cy="60960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/>
          <p:cNvSpPr/>
          <p:nvPr/>
        </p:nvSpPr>
        <p:spPr>
          <a:xfrm>
            <a:off x="7427025" y="3657600"/>
            <a:ext cx="781300" cy="545717"/>
          </a:xfrm>
          <a:prstGeom prst="rect">
            <a:avLst/>
          </a:prstGeom>
          <a:solidFill>
            <a:schemeClr val="accent6"/>
          </a:solidFill>
          <a:ln>
            <a:solidFill>
              <a:schemeClr val="accent6">
                <a:shade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Database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96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86CCBEC-8057-4DB8-9356-CD0A22E5E8CF}" type="datetime1">
              <a:rPr lang="en-US" smtClean="0"/>
              <a:t>3/31/201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4907463-2C46-4BDC-A2F7-5D5E6C457E54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oud Computing - Examples</a:t>
            </a:r>
            <a:endParaRPr lang="en-US" dirty="0"/>
          </a:p>
        </p:txBody>
      </p:sp>
      <p:sp>
        <p:nvSpPr>
          <p:cNvPr id="44" name="Rounded Rectangle 43"/>
          <p:cNvSpPr/>
          <p:nvPr/>
        </p:nvSpPr>
        <p:spPr>
          <a:xfrm>
            <a:off x="609600" y="2147907"/>
            <a:ext cx="8077200" cy="43179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t"/>
          <a:lstStyle/>
          <a:p>
            <a:pPr algn="ctr"/>
            <a:r>
              <a:rPr lang="en-US" dirty="0" smtClean="0"/>
              <a:t>Software As a Service</a:t>
            </a:r>
            <a:endParaRPr lang="en-US" dirty="0"/>
          </a:p>
        </p:txBody>
      </p:sp>
      <p:sp>
        <p:nvSpPr>
          <p:cNvPr id="45" name="Rounded Rectangle 44"/>
          <p:cNvSpPr/>
          <p:nvPr/>
        </p:nvSpPr>
        <p:spPr>
          <a:xfrm>
            <a:off x="1751223" y="3643053"/>
            <a:ext cx="6718852" cy="2757748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tlCol="0" anchor="t"/>
          <a:lstStyle/>
          <a:p>
            <a:pPr algn="ctr"/>
            <a:r>
              <a:rPr lang="en-US" dirty="0" smtClean="0"/>
              <a:t>Platform As a Service</a:t>
            </a:r>
            <a:endParaRPr lang="en-US" dirty="0"/>
          </a:p>
        </p:txBody>
      </p:sp>
      <p:sp>
        <p:nvSpPr>
          <p:cNvPr id="46" name="Rounded Rectangle 45"/>
          <p:cNvSpPr/>
          <p:nvPr/>
        </p:nvSpPr>
        <p:spPr>
          <a:xfrm>
            <a:off x="2438400" y="4819830"/>
            <a:ext cx="5874690" cy="1497121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t"/>
          <a:lstStyle/>
          <a:p>
            <a:pPr algn="ctr"/>
            <a:r>
              <a:rPr lang="en-US" dirty="0" smtClean="0"/>
              <a:t>Infrastructure As a Service</a:t>
            </a:r>
            <a:endParaRPr lang="en-US" dirty="0"/>
          </a:p>
        </p:txBody>
      </p:sp>
      <p:sp>
        <p:nvSpPr>
          <p:cNvPr id="48" name="Up-Down Arrow 47"/>
          <p:cNvSpPr/>
          <p:nvPr/>
        </p:nvSpPr>
        <p:spPr>
          <a:xfrm rot="2597486">
            <a:off x="2429065" y="1607215"/>
            <a:ext cx="484632" cy="60960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3962400" y="5046787"/>
            <a:ext cx="4133286" cy="107721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600" dirty="0" smtClean="0"/>
              <a:t>Full virtualization (</a:t>
            </a:r>
            <a:r>
              <a:rPr lang="en-US" sz="1600" dirty="0" err="1" smtClean="0"/>
              <a:t>GoGrid</a:t>
            </a:r>
            <a:r>
              <a:rPr lang="en-US" sz="1600" dirty="0" smtClean="0"/>
              <a:t>, </a:t>
            </a:r>
            <a:r>
              <a:rPr lang="en-US" sz="1600" dirty="0" err="1" smtClean="0"/>
              <a:t>Skytap</a:t>
            </a:r>
            <a:r>
              <a:rPr lang="en-US" sz="1600" dirty="0" smtClean="0"/>
              <a:t>) </a:t>
            </a:r>
          </a:p>
          <a:p>
            <a:pPr>
              <a:buFont typeface="Arial" pitchFamily="34" charset="0"/>
              <a:buChar char="•"/>
            </a:pPr>
            <a:r>
              <a:rPr lang="en-US" sz="1600" dirty="0" smtClean="0"/>
              <a:t>Grid computing (Sun Grid, HP) </a:t>
            </a:r>
          </a:p>
          <a:p>
            <a:pPr>
              <a:buFont typeface="Arial" pitchFamily="34" charset="0"/>
              <a:buChar char="•"/>
            </a:pPr>
            <a:r>
              <a:rPr lang="en-US" sz="1600" dirty="0" smtClean="0"/>
              <a:t>Management (</a:t>
            </a:r>
            <a:r>
              <a:rPr lang="en-US" sz="1600" dirty="0" err="1" smtClean="0"/>
              <a:t>RightScale</a:t>
            </a:r>
            <a:r>
              <a:rPr lang="en-US" sz="1600" dirty="0" smtClean="0"/>
              <a:t>, </a:t>
            </a:r>
            <a:r>
              <a:rPr lang="en-US" sz="1600" dirty="0" err="1" smtClean="0"/>
              <a:t>Elastra</a:t>
            </a:r>
            <a:r>
              <a:rPr lang="en-US" sz="1600" dirty="0" smtClean="0"/>
              <a:t>, HP) </a:t>
            </a:r>
          </a:p>
          <a:p>
            <a:pPr>
              <a:buFont typeface="Arial" pitchFamily="34" charset="0"/>
              <a:buChar char="•"/>
            </a:pPr>
            <a:r>
              <a:rPr lang="en-US" sz="1600" dirty="0" smtClean="0"/>
              <a:t>Compute (Amazon Elastic Compute Cloud) </a:t>
            </a:r>
            <a:endParaRPr lang="en-US" sz="1600" dirty="0"/>
          </a:p>
        </p:txBody>
      </p:sp>
      <p:sp>
        <p:nvSpPr>
          <p:cNvPr id="33" name="Rectangle 32"/>
          <p:cNvSpPr/>
          <p:nvPr/>
        </p:nvSpPr>
        <p:spPr>
          <a:xfrm>
            <a:off x="2514600" y="3756239"/>
            <a:ext cx="2976241" cy="954107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400" dirty="0" smtClean="0"/>
              <a:t>Database :Amazon </a:t>
            </a:r>
            <a:r>
              <a:rPr lang="en-US" sz="1400" dirty="0" err="1" smtClean="0"/>
              <a:t>SimpleDB</a:t>
            </a:r>
            <a:r>
              <a:rPr lang="en-US" sz="1400" dirty="0" smtClean="0"/>
              <a:t>, Google </a:t>
            </a:r>
            <a:r>
              <a:rPr lang="en-US" sz="1400" dirty="0" err="1" smtClean="0"/>
              <a:t>BigTable</a:t>
            </a:r>
            <a:r>
              <a:rPr lang="en-US" sz="1400" dirty="0" smtClean="0"/>
              <a:t> 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 smtClean="0"/>
              <a:t>Network : </a:t>
            </a:r>
            <a:r>
              <a:rPr lang="en-US" sz="1400" dirty="0" err="1" smtClean="0"/>
              <a:t>MobileMe</a:t>
            </a:r>
            <a:r>
              <a:rPr lang="en-US" sz="1400" dirty="0" smtClean="0"/>
              <a:t> </a:t>
            </a:r>
            <a:r>
              <a:rPr lang="en-US" sz="1400" dirty="0" err="1" smtClean="0"/>
              <a:t>iDisk</a:t>
            </a:r>
            <a:r>
              <a:rPr lang="en-US" sz="1400" dirty="0" smtClean="0"/>
              <a:t>, </a:t>
            </a:r>
            <a:r>
              <a:rPr lang="en-US" sz="1400" dirty="0" err="1" smtClean="0"/>
              <a:t>CloudNAS</a:t>
            </a:r>
            <a:endParaRPr lang="en-US" sz="1400" dirty="0" smtClean="0"/>
          </a:p>
          <a:p>
            <a:pPr>
              <a:buFont typeface="Arial" pitchFamily="34" charset="0"/>
              <a:buChar char="•"/>
            </a:pPr>
            <a:r>
              <a:rPr lang="en-US" sz="1400" dirty="0" smtClean="0"/>
              <a:t>Synch : </a:t>
            </a:r>
            <a:r>
              <a:rPr lang="en-US" sz="1400" dirty="0" err="1" smtClean="0"/>
              <a:t>MobileMe</a:t>
            </a:r>
            <a:r>
              <a:rPr lang="en-US" sz="1400" dirty="0" smtClean="0"/>
              <a:t> push </a:t>
            </a:r>
          </a:p>
        </p:txBody>
      </p:sp>
      <p:sp>
        <p:nvSpPr>
          <p:cNvPr id="34" name="Rectangle 33"/>
          <p:cNvSpPr/>
          <p:nvPr/>
        </p:nvSpPr>
        <p:spPr>
          <a:xfrm>
            <a:off x="5753100" y="3740073"/>
            <a:ext cx="2514600" cy="96657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400" dirty="0" smtClean="0"/>
              <a:t>App Framework: Google App Engine, Ruby on Rails 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 smtClean="0"/>
              <a:t>.NET : Azure Services Platform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 smtClean="0"/>
              <a:t>Proprietary : Force.com 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828800" y="2147907"/>
            <a:ext cx="3352800" cy="145494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lIns="0" rIns="0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400" dirty="0" smtClean="0"/>
              <a:t>Identity : </a:t>
            </a:r>
            <a:r>
              <a:rPr lang="en-US" sz="1400" dirty="0" err="1" smtClean="0"/>
              <a:t>OAuth</a:t>
            </a:r>
            <a:r>
              <a:rPr lang="en-US" sz="1400" dirty="0" smtClean="0"/>
              <a:t>, </a:t>
            </a:r>
            <a:r>
              <a:rPr lang="en-US" sz="1400" dirty="0" err="1" smtClean="0"/>
              <a:t>OpenID</a:t>
            </a:r>
            <a:endParaRPr lang="en-US" sz="1400" dirty="0" smtClean="0"/>
          </a:p>
          <a:p>
            <a:pPr>
              <a:buFont typeface="Arial" pitchFamily="34" charset="0"/>
              <a:buChar char="•"/>
            </a:pPr>
            <a:r>
              <a:rPr lang="en-US" sz="1400" dirty="0" smtClean="0"/>
              <a:t>Integration : Amazon Simple Queue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 smtClean="0"/>
              <a:t>Payments :Amazon Flexi Pay, PayPal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 smtClean="0"/>
              <a:t>Mapping : Google Maps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 smtClean="0"/>
              <a:t>Search :Google Custom Search, Yahoo! BOSS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 smtClean="0"/>
              <a:t>Human: Mechanical Turk</a:t>
            </a:r>
            <a:endParaRPr lang="en-US" sz="1400" dirty="0"/>
          </a:p>
        </p:txBody>
      </p:sp>
      <p:sp>
        <p:nvSpPr>
          <p:cNvPr id="50" name="TextBox 49"/>
          <p:cNvSpPr txBox="1"/>
          <p:nvPr/>
        </p:nvSpPr>
        <p:spPr>
          <a:xfrm>
            <a:off x="5410200" y="2652446"/>
            <a:ext cx="2895600" cy="954107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lIns="0" rIns="0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400" dirty="0" smtClean="0"/>
              <a:t>Peer-peer : Skype, </a:t>
            </a:r>
            <a:r>
              <a:rPr lang="en-US" sz="1400" dirty="0" err="1" smtClean="0"/>
              <a:t>Bittorent</a:t>
            </a:r>
            <a:endParaRPr lang="en-US" sz="1400" dirty="0" smtClean="0"/>
          </a:p>
          <a:p>
            <a:pPr>
              <a:buFont typeface="Arial" pitchFamily="34" charset="0"/>
              <a:buChar char="•"/>
            </a:pPr>
            <a:r>
              <a:rPr lang="en-US" sz="1400" dirty="0" smtClean="0"/>
              <a:t>Web app : </a:t>
            </a:r>
            <a:r>
              <a:rPr lang="en-US" sz="1400" dirty="0" err="1" smtClean="0"/>
              <a:t>Facebook</a:t>
            </a:r>
            <a:endParaRPr lang="en-US" sz="1400" dirty="0" smtClean="0"/>
          </a:p>
          <a:p>
            <a:pPr>
              <a:buFont typeface="Arial" pitchFamily="34" charset="0"/>
              <a:buChar char="•"/>
            </a:pPr>
            <a:r>
              <a:rPr lang="en-US" sz="1400" dirty="0" err="1" smtClean="0"/>
              <a:t>SaaS</a:t>
            </a:r>
            <a:r>
              <a:rPr lang="en-US" sz="1400" dirty="0" smtClean="0"/>
              <a:t>: Google Apps, SAP, </a:t>
            </a:r>
            <a:r>
              <a:rPr lang="en-US" sz="1400" dirty="0" err="1" smtClean="0"/>
              <a:t>Salesforce</a:t>
            </a:r>
            <a:endParaRPr lang="en-US" sz="1400" dirty="0" smtClean="0"/>
          </a:p>
          <a:p>
            <a:pPr>
              <a:buFont typeface="Arial" pitchFamily="34" charset="0"/>
              <a:buChar char="•"/>
            </a:pPr>
            <a:r>
              <a:rPr lang="en-US" sz="1400" dirty="0" smtClean="0"/>
              <a:t>Microsoft Online service</a:t>
            </a:r>
            <a:endParaRPr lang="en-US" sz="1400" dirty="0"/>
          </a:p>
        </p:txBody>
      </p:sp>
      <p:sp>
        <p:nvSpPr>
          <p:cNvPr id="51" name="TextBox 50"/>
          <p:cNvSpPr txBox="1"/>
          <p:nvPr/>
        </p:nvSpPr>
        <p:spPr>
          <a:xfrm>
            <a:off x="2971800" y="1249218"/>
            <a:ext cx="4419600" cy="73866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lIns="0" rIns="0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400" dirty="0" smtClean="0"/>
              <a:t>Mobile- </a:t>
            </a:r>
            <a:r>
              <a:rPr lang="en-US" sz="1400" dirty="0" err="1" smtClean="0"/>
              <a:t>Andriod</a:t>
            </a:r>
            <a:r>
              <a:rPr lang="en-US" sz="1400" dirty="0" smtClean="0"/>
              <a:t>, </a:t>
            </a:r>
            <a:r>
              <a:rPr lang="en-US" sz="1400" dirty="0" err="1" smtClean="0"/>
              <a:t>iPhone</a:t>
            </a:r>
            <a:r>
              <a:rPr lang="en-US" sz="1400" dirty="0" smtClean="0"/>
              <a:t>, Windows Mobile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 smtClean="0"/>
              <a:t>OS- </a:t>
            </a:r>
            <a:r>
              <a:rPr lang="en-US" sz="1400" dirty="0" err="1" smtClean="0"/>
              <a:t>gOS</a:t>
            </a:r>
            <a:endParaRPr lang="en-US" sz="1400" dirty="0" smtClean="0"/>
          </a:p>
          <a:p>
            <a:pPr>
              <a:buFont typeface="Arial" pitchFamily="34" charset="0"/>
              <a:buChar char="•"/>
            </a:pPr>
            <a:r>
              <a:rPr lang="en-US" sz="1400" dirty="0" smtClean="0"/>
              <a:t>Thin client-  </a:t>
            </a:r>
            <a:r>
              <a:rPr lang="en-US" sz="1400" dirty="0" err="1" smtClean="0"/>
              <a:t>Zonbu</a:t>
            </a:r>
            <a:r>
              <a:rPr lang="en-US" sz="1400" dirty="0" smtClean="0"/>
              <a:t>, </a:t>
            </a:r>
            <a:r>
              <a:rPr lang="en-US" sz="1400" dirty="0" err="1" smtClean="0"/>
              <a:t>gOS</a:t>
            </a:r>
            <a:r>
              <a:rPr lang="en-US" sz="1400" dirty="0" smtClean="0"/>
              <a:t> based application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62715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634</TotalTime>
  <Words>2470</Words>
  <Application>Microsoft Office PowerPoint</Application>
  <PresentationFormat>On-screen Show (4:3)</PresentationFormat>
  <Paragraphs>432</Paragraphs>
  <Slides>3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0" baseType="lpstr">
      <vt:lpstr>Arial Unicode MS</vt:lpstr>
      <vt:lpstr>Arial</vt:lpstr>
      <vt:lpstr>Arial Black</vt:lpstr>
      <vt:lpstr>Calibri</vt:lpstr>
      <vt:lpstr>Cambria Math</vt:lpstr>
      <vt:lpstr>Wingdings</vt:lpstr>
      <vt:lpstr>Office Theme</vt:lpstr>
      <vt:lpstr>think-cell Slide</vt:lpstr>
      <vt:lpstr>SS ZG653: Software Architecture Lecture 16: Architecture of Next Gen Systems</vt:lpstr>
      <vt:lpstr>Cloud Computing Paradigm</vt:lpstr>
      <vt:lpstr>Characteristics of Cloud Computing</vt:lpstr>
      <vt:lpstr>Service Oriented Software- Characteristics</vt:lpstr>
      <vt:lpstr>Four Key Infrastructure Components</vt:lpstr>
      <vt:lpstr>Examples</vt:lpstr>
      <vt:lpstr>Data Deluge- structured, unstructured text, audio, and video </vt:lpstr>
      <vt:lpstr>Traditional  versus Cloud Computing (Layered Rubric)</vt:lpstr>
      <vt:lpstr>Cloud Computing - Examples</vt:lpstr>
      <vt:lpstr>System Virtualization</vt:lpstr>
      <vt:lpstr>Hypervisor</vt:lpstr>
      <vt:lpstr>Virtualization Basics- Memory Mgmt</vt:lpstr>
      <vt:lpstr>Network- in a Nutshell</vt:lpstr>
      <vt:lpstr>Network Address Translation (NAT)</vt:lpstr>
      <vt:lpstr>Infrastructure as a Service</vt:lpstr>
      <vt:lpstr>Networking in IaaS</vt:lpstr>
      <vt:lpstr>Data (Massive) and Storage</vt:lpstr>
      <vt:lpstr>HDFS</vt:lpstr>
      <vt:lpstr>HBase</vt:lpstr>
      <vt:lpstr>MongoDB</vt:lpstr>
      <vt:lpstr>Quality of Service</vt:lpstr>
      <vt:lpstr>Availability</vt:lpstr>
      <vt:lpstr>Failure Estimation</vt:lpstr>
      <vt:lpstr>Netflix case study- Availability</vt:lpstr>
      <vt:lpstr>Performance</vt:lpstr>
      <vt:lpstr>Security</vt:lpstr>
      <vt:lpstr>Testing strategy Netflix- Simian Army</vt:lpstr>
      <vt:lpstr>CAP Theorem</vt:lpstr>
      <vt:lpstr>CAP Theorem- Explanation</vt:lpstr>
      <vt:lpstr>Architect’s Decision</vt:lpstr>
      <vt:lpstr>Architect’s Role</vt:lpstr>
      <vt:lpstr>Thank You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ntonu Sarkar</dc:creator>
  <cp:lastModifiedBy>Santonu Sarkar</cp:lastModifiedBy>
  <cp:revision>1565</cp:revision>
  <dcterms:created xsi:type="dcterms:W3CDTF">2012-07-04T06:43:36Z</dcterms:created>
  <dcterms:modified xsi:type="dcterms:W3CDTF">2015-03-31T11:29:23Z</dcterms:modified>
</cp:coreProperties>
</file>